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8" r:id="rId13"/>
    <p:sldId id="269" r:id="rId14"/>
    <p:sldId id="271" r:id="rId15"/>
    <p:sldId id="272" r:id="rId16"/>
    <p:sldId id="273" r:id="rId17"/>
    <p:sldId id="274" r:id="rId18"/>
    <p:sldId id="275" r:id="rId19"/>
    <p:sldId id="276" r:id="rId20"/>
    <p:sldId id="278" r:id="rId21"/>
    <p:sldId id="27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EA34F"/>
    <a:srgbClr val="46B688"/>
    <a:srgbClr val="AAAAAA"/>
    <a:srgbClr val="016AA3"/>
    <a:srgbClr val="7C7C7C"/>
    <a:srgbClr val="FE8D26"/>
    <a:srgbClr val="38906C"/>
    <a:srgbClr val="015685"/>
    <a:srgbClr val="FEBF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66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44" y="270"/>
      </p:cViewPr>
      <p:guideLst>
        <p:guide orient="horz" pos="213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E5738"/>
            </a:solidFill>
            <a:ln>
              <a:noFill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AAAAAA"/>
              </a:solidFill>
              <a:ln>
                <a:noFill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c:spPr>
          </c:dPt>
          <c:dPt>
            <c:idx val="1"/>
            <c:invertIfNegative val="0"/>
            <c:bubble3D val="0"/>
            <c:spPr>
              <a:solidFill>
                <a:srgbClr val="FEA34F"/>
              </a:solidFill>
              <a:ln>
                <a:noFill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c:spPr>
          </c:dPt>
          <c:dPt>
            <c:idx val="2"/>
            <c:invertIfNegative val="0"/>
            <c:bubble3D val="0"/>
            <c:spPr>
              <a:solidFill>
                <a:srgbClr val="46B688"/>
              </a:solidFill>
              <a:ln>
                <a:noFill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c:spPr>
          </c:dPt>
          <c:dPt>
            <c:idx val="3"/>
            <c:invertIfNegative val="0"/>
            <c:bubble3D val="0"/>
            <c:spPr>
              <a:solidFill>
                <a:srgbClr val="016AA3"/>
              </a:solidFill>
              <a:ln>
                <a:noFill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c:spPr>
          </c:dPt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axId val="288605848"/>
        <c:axId val="288227512"/>
      </c:barChart>
      <c:catAx>
        <c:axId val="2886058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88227512"/>
        <c:crosses val="autoZero"/>
        <c:auto val="1"/>
        <c:lblAlgn val="ctr"/>
        <c:lblOffset val="100"/>
        <c:noMultiLvlLbl val="0"/>
      </c:catAx>
      <c:valAx>
        <c:axId val="28822751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288605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46B688"/>
              </a:solidFill>
              <a:ln w="19050">
                <a:noFill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c:spPr>
          </c:dPt>
          <c:dPt>
            <c:idx val="1"/>
            <c:bubble3D val="0"/>
            <c:spPr>
              <a:solidFill>
                <a:srgbClr val="FEA34F"/>
              </a:solidFill>
              <a:ln w="19050">
                <a:noFill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c:spPr>
          </c:dPt>
          <c:dPt>
            <c:idx val="2"/>
            <c:bubble3D val="0"/>
            <c:spPr>
              <a:solidFill>
                <a:srgbClr val="016AA3"/>
              </a:solidFill>
              <a:ln w="19050">
                <a:noFill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7999999999999996</c:v>
                </c:pt>
                <c:pt idx="1">
                  <c:v>0.28000000000000003</c:v>
                </c:pt>
                <c:pt idx="2">
                  <c:v>0.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713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1599" y="2928597"/>
            <a:ext cx="2133601" cy="2130424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460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7371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224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101567" y="4092575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826885" y="4092575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95222" y="4092575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361344" y="4092575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127466" y="4092575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9893588" y="4092575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686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icture Placeholder 122"/>
          <p:cNvSpPr>
            <a:spLocks noGrp="1"/>
          </p:cNvSpPr>
          <p:nvPr>
            <p:ph type="pic" sz="quarter" idx="14"/>
          </p:nvPr>
        </p:nvSpPr>
        <p:spPr>
          <a:xfrm>
            <a:off x="890218" y="5235555"/>
            <a:ext cx="810000" cy="81000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5" name="Picture Placeholder 122"/>
          <p:cNvSpPr>
            <a:spLocks noGrp="1"/>
          </p:cNvSpPr>
          <p:nvPr>
            <p:ph type="pic" sz="quarter" idx="15"/>
          </p:nvPr>
        </p:nvSpPr>
        <p:spPr>
          <a:xfrm>
            <a:off x="2800355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6" name="Picture Placeholder 122"/>
          <p:cNvSpPr>
            <a:spLocks noGrp="1"/>
          </p:cNvSpPr>
          <p:nvPr>
            <p:ph type="pic" sz="quarter" idx="16"/>
          </p:nvPr>
        </p:nvSpPr>
        <p:spPr>
          <a:xfrm>
            <a:off x="4727816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7" name="Picture Placeholder 122"/>
          <p:cNvSpPr>
            <a:spLocks noGrp="1"/>
          </p:cNvSpPr>
          <p:nvPr>
            <p:ph type="pic" sz="quarter" idx="17"/>
          </p:nvPr>
        </p:nvSpPr>
        <p:spPr>
          <a:xfrm>
            <a:off x="6637953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8" name="Picture Placeholder 122"/>
          <p:cNvSpPr>
            <a:spLocks noGrp="1"/>
          </p:cNvSpPr>
          <p:nvPr>
            <p:ph type="pic" sz="quarter" idx="18"/>
          </p:nvPr>
        </p:nvSpPr>
        <p:spPr>
          <a:xfrm>
            <a:off x="8565414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9" name="Picture Placeholder 122"/>
          <p:cNvSpPr>
            <a:spLocks noGrp="1"/>
          </p:cNvSpPr>
          <p:nvPr>
            <p:ph type="pic" sz="quarter" idx="19"/>
          </p:nvPr>
        </p:nvSpPr>
        <p:spPr>
          <a:xfrm>
            <a:off x="10475551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0" name="Picture Placeholder 122"/>
          <p:cNvSpPr>
            <a:spLocks noGrp="1"/>
          </p:cNvSpPr>
          <p:nvPr>
            <p:ph type="pic" sz="quarter" idx="11"/>
          </p:nvPr>
        </p:nvSpPr>
        <p:spPr>
          <a:xfrm>
            <a:off x="1709577" y="3238852"/>
            <a:ext cx="1080001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1" name="Picture Placeholder 122"/>
          <p:cNvSpPr>
            <a:spLocks noGrp="1"/>
          </p:cNvSpPr>
          <p:nvPr>
            <p:ph type="pic" sz="quarter" idx="12"/>
          </p:nvPr>
        </p:nvSpPr>
        <p:spPr>
          <a:xfrm>
            <a:off x="5547176" y="3238851"/>
            <a:ext cx="108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2" name="Picture Placeholder 122"/>
          <p:cNvSpPr>
            <a:spLocks noGrp="1"/>
          </p:cNvSpPr>
          <p:nvPr>
            <p:ph type="pic" sz="quarter" idx="13"/>
          </p:nvPr>
        </p:nvSpPr>
        <p:spPr>
          <a:xfrm>
            <a:off x="9384774" y="3238851"/>
            <a:ext cx="108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3" name="Picture Placeholder 122"/>
          <p:cNvSpPr>
            <a:spLocks noGrp="1"/>
          </p:cNvSpPr>
          <p:nvPr>
            <p:ph type="pic" sz="quarter" idx="10"/>
          </p:nvPr>
        </p:nvSpPr>
        <p:spPr>
          <a:xfrm>
            <a:off x="5410792" y="1012533"/>
            <a:ext cx="1312732" cy="13068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928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84598" y="0"/>
            <a:ext cx="32893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718103" y="0"/>
            <a:ext cx="32893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954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FB85-5C0D-4BC5-880B-2628A82A4BC2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89730-4BA7-4A6E-9ADF-70FD5E03A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290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0" r:id="rId2"/>
    <p:sldLayoutId id="2147483656" r:id="rId3"/>
    <p:sldLayoutId id="2147483657" r:id="rId4"/>
    <p:sldLayoutId id="2147483658" r:id="rId5"/>
    <p:sldLayoutId id="214748365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microsoft.com/office/2007/relationships/hdphoto" Target="../media/hdphoto2.wdp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jpe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2337143" y="0"/>
            <a:ext cx="667657" cy="667657"/>
          </a:xfrm>
          <a:prstGeom prst="rect">
            <a:avLst/>
          </a:prstGeom>
          <a:solidFill>
            <a:srgbClr val="0C4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2337143" y="798285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2337143" y="1596570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 37"/>
          <p:cNvSpPr/>
          <p:nvPr/>
        </p:nvSpPr>
        <p:spPr>
          <a:xfrm flipH="1">
            <a:off x="0" y="2"/>
            <a:ext cx="10752898" cy="6857999"/>
          </a:xfrm>
          <a:custGeom>
            <a:avLst/>
            <a:gdLst>
              <a:gd name="connsiteX0" fmla="*/ 7628699 w 10752898"/>
              <a:gd name="connsiteY0" fmla="*/ 0 h 6857999"/>
              <a:gd name="connsiteX1" fmla="*/ 0 w 10752898"/>
              <a:gd name="connsiteY1" fmla="*/ 0 h 6857999"/>
              <a:gd name="connsiteX2" fmla="*/ 6857999 w 10752898"/>
              <a:gd name="connsiteY2" fmla="*/ 6857999 h 6857999"/>
              <a:gd name="connsiteX3" fmla="*/ 10752898 w 10752898"/>
              <a:gd name="connsiteY3" fmla="*/ 6857999 h 6857999"/>
              <a:gd name="connsiteX4" fmla="*/ 10752898 w 10752898"/>
              <a:gd name="connsiteY4" fmla="*/ 3124199 h 6857999"/>
              <a:gd name="connsiteX5" fmla="*/ 7628699 w 10752898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2898" h="6857999">
                <a:moveTo>
                  <a:pt x="7628699" y="0"/>
                </a:moveTo>
                <a:lnTo>
                  <a:pt x="0" y="0"/>
                </a:lnTo>
                <a:lnTo>
                  <a:pt x="6857999" y="6857999"/>
                </a:lnTo>
                <a:lnTo>
                  <a:pt x="10752898" y="6857999"/>
                </a:lnTo>
                <a:lnTo>
                  <a:pt x="10752898" y="3124199"/>
                </a:lnTo>
                <a:lnTo>
                  <a:pt x="7628699" y="0"/>
                </a:lnTo>
                <a:close/>
              </a:path>
            </a:pathLst>
          </a:cu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90" t="44951" r="29720" b="44305"/>
          <a:stretch/>
        </p:blipFill>
        <p:spPr>
          <a:xfrm>
            <a:off x="2225459" y="3045041"/>
            <a:ext cx="2325950" cy="736846"/>
          </a:xfrm>
          <a:prstGeom prst="rect">
            <a:avLst/>
          </a:prstGeom>
          <a:effectLst>
            <a:outerShdw blurRad="38100" dist="25400" dir="54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098836" y="3799959"/>
            <a:ext cx="4577779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PowerPoint Presentation -</a:t>
            </a:r>
            <a:endParaRPr lang="en-US" sz="2000" dirty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 rot="18900000">
            <a:off x="2296406" y="4602609"/>
            <a:ext cx="7678494" cy="48872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18900000">
            <a:off x="5085472" y="975824"/>
            <a:ext cx="7678494" cy="48872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3156292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3156292" y="798285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3156292" y="1596570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2369839" y="4241069"/>
            <a:ext cx="2035771" cy="110557"/>
            <a:chOff x="-170626" y="0"/>
            <a:chExt cx="13534857" cy="16691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" name="Parallelogram 1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Parallelogram 2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215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" name="Picture Placeholder 481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028" r="14028"/>
          <a:stretch>
            <a:fillRect/>
          </a:stretch>
        </p:blipFill>
        <p:spPr/>
      </p:pic>
      <p:sp>
        <p:nvSpPr>
          <p:cNvPr id="119" name="Rectangle 118"/>
          <p:cNvSpPr/>
          <p:nvPr/>
        </p:nvSpPr>
        <p:spPr>
          <a:xfrm>
            <a:off x="8713224" y="0"/>
            <a:ext cx="3294180" cy="6858000"/>
          </a:xfrm>
          <a:prstGeom prst="rect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Placeholder 30"/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028" r="14028"/>
          <a:stretch>
            <a:fillRect/>
          </a:stretch>
        </p:blipFill>
        <p:spPr/>
      </p:pic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29" name="Group 528"/>
          <p:cNvGrpSpPr/>
          <p:nvPr/>
        </p:nvGrpSpPr>
        <p:grpSpPr>
          <a:xfrm>
            <a:off x="5410200" y="909539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33" name="Title 1"/>
          <p:cNvSpPr txBox="1">
            <a:spLocks/>
          </p:cNvSpPr>
          <p:nvPr/>
        </p:nvSpPr>
        <p:spPr>
          <a:xfrm>
            <a:off x="3461639" y="1171242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COMPARISON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168159" y="2054822"/>
            <a:ext cx="159954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4800" b="1" dirty="0"/>
              <a:t>50%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4178701" y="1815016"/>
            <a:ext cx="1599544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MALE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6588309" y="2054822"/>
            <a:ext cx="159954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4800" b="1" dirty="0"/>
              <a:t>72%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588309" y="1815016"/>
            <a:ext cx="1599544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FEMAL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84598" y="0"/>
            <a:ext cx="3289300" cy="6858000"/>
          </a:xfrm>
          <a:prstGeom prst="rect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ounded Rectangle 129"/>
          <p:cNvSpPr/>
          <p:nvPr/>
        </p:nvSpPr>
        <p:spPr>
          <a:xfrm>
            <a:off x="4206238" y="2926449"/>
            <a:ext cx="236572" cy="2203853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1" name="Rounded Rectangle 130"/>
          <p:cNvSpPr/>
          <p:nvPr/>
        </p:nvSpPr>
        <p:spPr>
          <a:xfrm rot="10800000">
            <a:off x="4206238" y="3397129"/>
            <a:ext cx="236572" cy="1733174"/>
          </a:xfrm>
          <a:prstGeom prst="roundRect">
            <a:avLst>
              <a:gd name="adj" fmla="val 47675"/>
            </a:avLst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2" name="Rounded Rectangle 131"/>
          <p:cNvSpPr/>
          <p:nvPr/>
        </p:nvSpPr>
        <p:spPr>
          <a:xfrm>
            <a:off x="4853697" y="2926449"/>
            <a:ext cx="236572" cy="2203853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3" name="Rounded Rectangle 132"/>
          <p:cNvSpPr/>
          <p:nvPr/>
        </p:nvSpPr>
        <p:spPr>
          <a:xfrm rot="10800000">
            <a:off x="4849646" y="3885187"/>
            <a:ext cx="236572" cy="1245115"/>
          </a:xfrm>
          <a:prstGeom prst="roundRect">
            <a:avLst>
              <a:gd name="adj" fmla="val 50000"/>
            </a:avLst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4" name="Rounded Rectangle 133"/>
          <p:cNvSpPr/>
          <p:nvPr/>
        </p:nvSpPr>
        <p:spPr>
          <a:xfrm>
            <a:off x="5501156" y="2926449"/>
            <a:ext cx="236572" cy="2203853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5" name="Rounded Rectangle 134"/>
          <p:cNvSpPr/>
          <p:nvPr/>
        </p:nvSpPr>
        <p:spPr>
          <a:xfrm rot="10800000">
            <a:off x="5501156" y="3614807"/>
            <a:ext cx="236572" cy="1515495"/>
          </a:xfrm>
          <a:prstGeom prst="roundRect">
            <a:avLst>
              <a:gd name="adj" fmla="val 50000"/>
            </a:avLst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7" name="Oval 136"/>
          <p:cNvSpPr/>
          <p:nvPr/>
        </p:nvSpPr>
        <p:spPr>
          <a:xfrm>
            <a:off x="4803893" y="3809777"/>
            <a:ext cx="336181" cy="336181"/>
          </a:xfrm>
          <a:prstGeom prst="ellipse">
            <a:avLst/>
          </a:prstGeom>
          <a:solidFill>
            <a:srgbClr val="46B688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3" name="Oval 142"/>
          <p:cNvSpPr/>
          <p:nvPr/>
        </p:nvSpPr>
        <p:spPr>
          <a:xfrm>
            <a:off x="4156433" y="3237728"/>
            <a:ext cx="336181" cy="336181"/>
          </a:xfrm>
          <a:prstGeom prst="ellipse">
            <a:avLst/>
          </a:prstGeom>
          <a:solidFill>
            <a:srgbClr val="016AA3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5451352" y="3466282"/>
            <a:ext cx="336181" cy="336181"/>
          </a:xfrm>
          <a:prstGeom prst="ellipse">
            <a:avLst/>
          </a:prstGeom>
          <a:solidFill>
            <a:srgbClr val="FEA34F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3899572" y="5558405"/>
            <a:ext cx="2136719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00" dirty="0" err="1">
                <a:solidFill>
                  <a:prstClr val="black"/>
                </a:solidFill>
              </a:rPr>
              <a:t>Lorem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en-US" sz="1000" dirty="0" err="1">
                <a:solidFill>
                  <a:prstClr val="black"/>
                </a:solidFill>
              </a:rPr>
              <a:t>Ipsum</a:t>
            </a:r>
            <a:r>
              <a:rPr lang="en-US" sz="1000" dirty="0">
                <a:solidFill>
                  <a:prstClr val="black"/>
                </a:solidFill>
              </a:rPr>
              <a:t> is simply dummy text of the printing and typesetting industry. Lorem Ipsum has been the industry's standard dummy text ever since the </a:t>
            </a:r>
            <a:r>
              <a:rPr lang="en-US" sz="1000" dirty="0" smtClean="0">
                <a:solidFill>
                  <a:prstClr val="black"/>
                </a:solidFill>
              </a:rPr>
              <a:t>1500s.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3899572" y="5308310"/>
            <a:ext cx="2136719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dirty="0" smtClean="0"/>
              <a:t>LOREM IPSUM</a:t>
            </a:r>
            <a:endParaRPr lang="en-US" sz="1200" b="1" dirty="0"/>
          </a:p>
        </p:txBody>
      </p:sp>
      <p:grpSp>
        <p:nvGrpSpPr>
          <p:cNvPr id="157" name="Group 156"/>
          <p:cNvGrpSpPr/>
          <p:nvPr/>
        </p:nvGrpSpPr>
        <p:grpSpPr>
          <a:xfrm>
            <a:off x="4908389" y="3914776"/>
            <a:ext cx="126181" cy="126181"/>
            <a:chOff x="4319588" y="2492375"/>
            <a:chExt cx="287338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58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4256663" y="3345876"/>
            <a:ext cx="135719" cy="119885"/>
            <a:chOff x="7600950" y="779463"/>
            <a:chExt cx="285750" cy="252412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61" name="Freeform 3135"/>
            <p:cNvSpPr>
              <a:spLocks/>
            </p:cNvSpPr>
            <p:nvPr/>
          </p:nvSpPr>
          <p:spPr bwMode="auto">
            <a:xfrm>
              <a:off x="7677150" y="779463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5550318" y="3565249"/>
            <a:ext cx="138246" cy="138246"/>
            <a:chOff x="3753097" y="4202817"/>
            <a:chExt cx="284163" cy="284163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64" name="Freeform 4450"/>
            <p:cNvSpPr>
              <a:spLocks/>
            </p:cNvSpPr>
            <p:nvPr/>
          </p:nvSpPr>
          <p:spPr bwMode="auto">
            <a:xfrm>
              <a:off x="3992810" y="4231392"/>
              <a:ext cx="44450" cy="47625"/>
            </a:xfrm>
            <a:custGeom>
              <a:avLst/>
              <a:gdLst>
                <a:gd name="T0" fmla="*/ 138 w 143"/>
                <a:gd name="T1" fmla="*/ 64 h 150"/>
                <a:gd name="T2" fmla="*/ 74 w 143"/>
                <a:gd name="T3" fmla="*/ 0 h 150"/>
                <a:gd name="T4" fmla="*/ 0 w 143"/>
                <a:gd name="T5" fmla="*/ 73 h 150"/>
                <a:gd name="T6" fmla="*/ 75 w 143"/>
                <a:gd name="T7" fmla="*/ 150 h 150"/>
                <a:gd name="T8" fmla="*/ 138 w 143"/>
                <a:gd name="T9" fmla="*/ 84 h 150"/>
                <a:gd name="T10" fmla="*/ 141 w 143"/>
                <a:gd name="T11" fmla="*/ 83 h 150"/>
                <a:gd name="T12" fmla="*/ 142 w 143"/>
                <a:gd name="T13" fmla="*/ 81 h 150"/>
                <a:gd name="T14" fmla="*/ 143 w 143"/>
                <a:gd name="T15" fmla="*/ 78 h 150"/>
                <a:gd name="T16" fmla="*/ 143 w 143"/>
                <a:gd name="T17" fmla="*/ 75 h 150"/>
                <a:gd name="T18" fmla="*/ 142 w 143"/>
                <a:gd name="T19" fmla="*/ 69 h 150"/>
                <a:gd name="T20" fmla="*/ 138 w 143"/>
                <a:gd name="T21" fmla="*/ 6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0">
                  <a:moveTo>
                    <a:pt x="138" y="64"/>
                  </a:moveTo>
                  <a:lnTo>
                    <a:pt x="74" y="0"/>
                  </a:lnTo>
                  <a:lnTo>
                    <a:pt x="0" y="73"/>
                  </a:lnTo>
                  <a:lnTo>
                    <a:pt x="75" y="150"/>
                  </a:lnTo>
                  <a:lnTo>
                    <a:pt x="138" y="84"/>
                  </a:lnTo>
                  <a:lnTo>
                    <a:pt x="141" y="83"/>
                  </a:lnTo>
                  <a:lnTo>
                    <a:pt x="142" y="81"/>
                  </a:lnTo>
                  <a:lnTo>
                    <a:pt x="143" y="78"/>
                  </a:lnTo>
                  <a:lnTo>
                    <a:pt x="143" y="75"/>
                  </a:lnTo>
                  <a:lnTo>
                    <a:pt x="142" y="69"/>
                  </a:lnTo>
                  <a:lnTo>
                    <a:pt x="13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451"/>
            <p:cNvSpPr>
              <a:spLocks/>
            </p:cNvSpPr>
            <p:nvPr/>
          </p:nvSpPr>
          <p:spPr bwMode="auto">
            <a:xfrm>
              <a:off x="3961060" y="4202817"/>
              <a:ext cx="47625" cy="46038"/>
            </a:xfrm>
            <a:custGeom>
              <a:avLst/>
              <a:gdLst>
                <a:gd name="T0" fmla="*/ 149 w 149"/>
                <a:gd name="T1" fmla="*/ 68 h 143"/>
                <a:gd name="T2" fmla="*/ 86 w 149"/>
                <a:gd name="T3" fmla="*/ 4 h 143"/>
                <a:gd name="T4" fmla="*/ 84 w 149"/>
                <a:gd name="T5" fmla="*/ 2 h 143"/>
                <a:gd name="T6" fmla="*/ 80 w 149"/>
                <a:gd name="T7" fmla="*/ 1 h 143"/>
                <a:gd name="T8" fmla="*/ 78 w 149"/>
                <a:gd name="T9" fmla="*/ 0 h 143"/>
                <a:gd name="T10" fmla="*/ 75 w 149"/>
                <a:gd name="T11" fmla="*/ 0 h 143"/>
                <a:gd name="T12" fmla="*/ 75 w 149"/>
                <a:gd name="T13" fmla="*/ 0 h 143"/>
                <a:gd name="T14" fmla="*/ 75 w 149"/>
                <a:gd name="T15" fmla="*/ 0 h 143"/>
                <a:gd name="T16" fmla="*/ 72 w 149"/>
                <a:gd name="T17" fmla="*/ 0 h 143"/>
                <a:gd name="T18" fmla="*/ 69 w 149"/>
                <a:gd name="T19" fmla="*/ 1 h 143"/>
                <a:gd name="T20" fmla="*/ 66 w 149"/>
                <a:gd name="T21" fmla="*/ 2 h 143"/>
                <a:gd name="T22" fmla="*/ 64 w 149"/>
                <a:gd name="T23" fmla="*/ 4 h 143"/>
                <a:gd name="T24" fmla="*/ 0 w 149"/>
                <a:gd name="T25" fmla="*/ 68 h 143"/>
                <a:gd name="T26" fmla="*/ 75 w 149"/>
                <a:gd name="T27" fmla="*/ 143 h 143"/>
                <a:gd name="T28" fmla="*/ 149 w 149"/>
                <a:gd name="T29" fmla="*/ 6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9" h="143">
                  <a:moveTo>
                    <a:pt x="149" y="68"/>
                  </a:move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0" y="68"/>
                  </a:lnTo>
                  <a:lnTo>
                    <a:pt x="75" y="143"/>
                  </a:lnTo>
                  <a:lnTo>
                    <a:pt x="14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4452"/>
            <p:cNvSpPr>
              <a:spLocks noEditPoints="1"/>
            </p:cNvSpPr>
            <p:nvPr/>
          </p:nvSpPr>
          <p:spPr bwMode="auto">
            <a:xfrm>
              <a:off x="3753097" y="4231392"/>
              <a:ext cx="255588" cy="255588"/>
            </a:xfrm>
            <a:custGeom>
              <a:avLst/>
              <a:gdLst>
                <a:gd name="T0" fmla="*/ 382 w 808"/>
                <a:gd name="T1" fmla="*/ 623 h 807"/>
                <a:gd name="T2" fmla="*/ 323 w 808"/>
                <a:gd name="T3" fmla="*/ 603 h 807"/>
                <a:gd name="T4" fmla="*/ 272 w 808"/>
                <a:gd name="T5" fmla="*/ 570 h 807"/>
                <a:gd name="T6" fmla="*/ 230 w 808"/>
                <a:gd name="T7" fmla="*/ 526 h 807"/>
                <a:gd name="T8" fmla="*/ 199 w 808"/>
                <a:gd name="T9" fmla="*/ 473 h 807"/>
                <a:gd name="T10" fmla="*/ 182 w 808"/>
                <a:gd name="T11" fmla="*/ 413 h 807"/>
                <a:gd name="T12" fmla="*/ 181 w 808"/>
                <a:gd name="T13" fmla="*/ 348 h 807"/>
                <a:gd name="T14" fmla="*/ 195 w 808"/>
                <a:gd name="T15" fmla="*/ 287 h 807"/>
                <a:gd name="T16" fmla="*/ 223 w 808"/>
                <a:gd name="T17" fmla="*/ 232 h 807"/>
                <a:gd name="T18" fmla="*/ 263 w 808"/>
                <a:gd name="T19" fmla="*/ 186 h 807"/>
                <a:gd name="T20" fmla="*/ 313 w 808"/>
                <a:gd name="T21" fmla="*/ 151 h 807"/>
                <a:gd name="T22" fmla="*/ 370 w 808"/>
                <a:gd name="T23" fmla="*/ 128 h 807"/>
                <a:gd name="T24" fmla="*/ 433 w 808"/>
                <a:gd name="T25" fmla="*/ 119 h 807"/>
                <a:gd name="T26" fmla="*/ 498 w 808"/>
                <a:gd name="T27" fmla="*/ 128 h 807"/>
                <a:gd name="T28" fmla="*/ 554 w 808"/>
                <a:gd name="T29" fmla="*/ 151 h 807"/>
                <a:gd name="T30" fmla="*/ 605 w 808"/>
                <a:gd name="T31" fmla="*/ 186 h 807"/>
                <a:gd name="T32" fmla="*/ 644 w 808"/>
                <a:gd name="T33" fmla="*/ 232 h 807"/>
                <a:gd name="T34" fmla="*/ 672 w 808"/>
                <a:gd name="T35" fmla="*/ 287 h 807"/>
                <a:gd name="T36" fmla="*/ 687 w 808"/>
                <a:gd name="T37" fmla="*/ 348 h 807"/>
                <a:gd name="T38" fmla="*/ 685 w 808"/>
                <a:gd name="T39" fmla="*/ 413 h 807"/>
                <a:gd name="T40" fmla="*/ 668 w 808"/>
                <a:gd name="T41" fmla="*/ 473 h 807"/>
                <a:gd name="T42" fmla="*/ 638 w 808"/>
                <a:gd name="T43" fmla="*/ 526 h 807"/>
                <a:gd name="T44" fmla="*/ 595 w 808"/>
                <a:gd name="T45" fmla="*/ 570 h 807"/>
                <a:gd name="T46" fmla="*/ 544 w 808"/>
                <a:gd name="T47" fmla="*/ 603 h 807"/>
                <a:gd name="T48" fmla="*/ 485 w 808"/>
                <a:gd name="T49" fmla="*/ 623 h 807"/>
                <a:gd name="T50" fmla="*/ 184 w 808"/>
                <a:gd name="T51" fmla="*/ 643 h 807"/>
                <a:gd name="T52" fmla="*/ 169 w 808"/>
                <a:gd name="T53" fmla="*/ 634 h 807"/>
                <a:gd name="T54" fmla="*/ 167 w 808"/>
                <a:gd name="T55" fmla="*/ 616 h 807"/>
                <a:gd name="T56" fmla="*/ 181 w 808"/>
                <a:gd name="T57" fmla="*/ 604 h 807"/>
                <a:gd name="T58" fmla="*/ 198 w 808"/>
                <a:gd name="T59" fmla="*/ 609 h 807"/>
                <a:gd name="T60" fmla="*/ 203 w 808"/>
                <a:gd name="T61" fmla="*/ 628 h 807"/>
                <a:gd name="T62" fmla="*/ 192 w 808"/>
                <a:gd name="T63" fmla="*/ 642 h 807"/>
                <a:gd name="T64" fmla="*/ 121 w 808"/>
                <a:gd name="T65" fmla="*/ 697 h 807"/>
                <a:gd name="T66" fmla="*/ 109 w 808"/>
                <a:gd name="T67" fmla="*/ 684 h 807"/>
                <a:gd name="T68" fmla="*/ 115 w 808"/>
                <a:gd name="T69" fmla="*/ 667 h 807"/>
                <a:gd name="T70" fmla="*/ 132 w 808"/>
                <a:gd name="T71" fmla="*/ 662 h 807"/>
                <a:gd name="T72" fmla="*/ 146 w 808"/>
                <a:gd name="T73" fmla="*/ 673 h 807"/>
                <a:gd name="T74" fmla="*/ 143 w 808"/>
                <a:gd name="T75" fmla="*/ 691 h 807"/>
                <a:gd name="T76" fmla="*/ 129 w 808"/>
                <a:gd name="T77" fmla="*/ 698 h 807"/>
                <a:gd name="T78" fmla="*/ 459 w 808"/>
                <a:gd name="T79" fmla="*/ 91 h 807"/>
                <a:gd name="T80" fmla="*/ 391 w 808"/>
                <a:gd name="T81" fmla="*/ 93 h 807"/>
                <a:gd name="T82" fmla="*/ 323 w 808"/>
                <a:gd name="T83" fmla="*/ 112 h 807"/>
                <a:gd name="T84" fmla="*/ 263 w 808"/>
                <a:gd name="T85" fmla="*/ 146 h 807"/>
                <a:gd name="T86" fmla="*/ 214 w 808"/>
                <a:gd name="T87" fmla="*/ 193 h 807"/>
                <a:gd name="T88" fmla="*/ 178 w 808"/>
                <a:gd name="T89" fmla="*/ 251 h 807"/>
                <a:gd name="T90" fmla="*/ 155 w 808"/>
                <a:gd name="T91" fmla="*/ 317 h 807"/>
                <a:gd name="T92" fmla="*/ 150 w 808"/>
                <a:gd name="T93" fmla="*/ 387 h 807"/>
                <a:gd name="T94" fmla="*/ 167 w 808"/>
                <a:gd name="T95" fmla="*/ 471 h 807"/>
                <a:gd name="T96" fmla="*/ 0 w 808"/>
                <a:gd name="T97" fmla="*/ 643 h 807"/>
                <a:gd name="T98" fmla="*/ 4 w 808"/>
                <a:gd name="T99" fmla="*/ 803 h 807"/>
                <a:gd name="T100" fmla="*/ 166 w 808"/>
                <a:gd name="T101" fmla="*/ 807 h 807"/>
                <a:gd name="T102" fmla="*/ 337 w 808"/>
                <a:gd name="T103" fmla="*/ 642 h 807"/>
                <a:gd name="T104" fmla="*/ 421 w 808"/>
                <a:gd name="T105" fmla="*/ 658 h 807"/>
                <a:gd name="T106" fmla="*/ 491 w 808"/>
                <a:gd name="T107" fmla="*/ 652 h 807"/>
                <a:gd name="T108" fmla="*/ 557 w 808"/>
                <a:gd name="T109" fmla="*/ 630 h 807"/>
                <a:gd name="T110" fmla="*/ 614 w 808"/>
                <a:gd name="T111" fmla="*/ 593 h 807"/>
                <a:gd name="T112" fmla="*/ 661 w 808"/>
                <a:gd name="T113" fmla="*/ 544 h 807"/>
                <a:gd name="T114" fmla="*/ 696 w 808"/>
                <a:gd name="T115" fmla="*/ 484 h 807"/>
                <a:gd name="T116" fmla="*/ 715 w 808"/>
                <a:gd name="T117" fmla="*/ 417 h 807"/>
                <a:gd name="T118" fmla="*/ 717 w 808"/>
                <a:gd name="T119" fmla="*/ 350 h 807"/>
                <a:gd name="T120" fmla="*/ 804 w 808"/>
                <a:gd name="T121" fmla="*/ 175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8" h="807">
                  <a:moveTo>
                    <a:pt x="433" y="628"/>
                  </a:moveTo>
                  <a:lnTo>
                    <a:pt x="421" y="628"/>
                  </a:lnTo>
                  <a:lnTo>
                    <a:pt x="408" y="627"/>
                  </a:lnTo>
                  <a:lnTo>
                    <a:pt x="395" y="626"/>
                  </a:lnTo>
                  <a:lnTo>
                    <a:pt x="382" y="623"/>
                  </a:lnTo>
                  <a:lnTo>
                    <a:pt x="370" y="620"/>
                  </a:lnTo>
                  <a:lnTo>
                    <a:pt x="359" y="617"/>
                  </a:lnTo>
                  <a:lnTo>
                    <a:pt x="347" y="613"/>
                  </a:lnTo>
                  <a:lnTo>
                    <a:pt x="335" y="608"/>
                  </a:lnTo>
                  <a:lnTo>
                    <a:pt x="323" y="603"/>
                  </a:lnTo>
                  <a:lnTo>
                    <a:pt x="313" y="598"/>
                  </a:lnTo>
                  <a:lnTo>
                    <a:pt x="302" y="591"/>
                  </a:lnTo>
                  <a:lnTo>
                    <a:pt x="291" y="585"/>
                  </a:lnTo>
                  <a:lnTo>
                    <a:pt x="282" y="577"/>
                  </a:lnTo>
                  <a:lnTo>
                    <a:pt x="272" y="570"/>
                  </a:lnTo>
                  <a:lnTo>
                    <a:pt x="263" y="562"/>
                  </a:lnTo>
                  <a:lnTo>
                    <a:pt x="254" y="554"/>
                  </a:lnTo>
                  <a:lnTo>
                    <a:pt x="245" y="545"/>
                  </a:lnTo>
                  <a:lnTo>
                    <a:pt x="238" y="536"/>
                  </a:lnTo>
                  <a:lnTo>
                    <a:pt x="230" y="526"/>
                  </a:lnTo>
                  <a:lnTo>
                    <a:pt x="223" y="516"/>
                  </a:lnTo>
                  <a:lnTo>
                    <a:pt x="216" y="506"/>
                  </a:lnTo>
                  <a:lnTo>
                    <a:pt x="210" y="495"/>
                  </a:lnTo>
                  <a:lnTo>
                    <a:pt x="204" y="484"/>
                  </a:lnTo>
                  <a:lnTo>
                    <a:pt x="199" y="473"/>
                  </a:lnTo>
                  <a:lnTo>
                    <a:pt x="195" y="462"/>
                  </a:lnTo>
                  <a:lnTo>
                    <a:pt x="191" y="450"/>
                  </a:lnTo>
                  <a:lnTo>
                    <a:pt x="187" y="437"/>
                  </a:lnTo>
                  <a:lnTo>
                    <a:pt x="184" y="425"/>
                  </a:lnTo>
                  <a:lnTo>
                    <a:pt x="182" y="413"/>
                  </a:lnTo>
                  <a:lnTo>
                    <a:pt x="181" y="400"/>
                  </a:lnTo>
                  <a:lnTo>
                    <a:pt x="180" y="387"/>
                  </a:lnTo>
                  <a:lnTo>
                    <a:pt x="180" y="374"/>
                  </a:lnTo>
                  <a:lnTo>
                    <a:pt x="180" y="361"/>
                  </a:lnTo>
                  <a:lnTo>
                    <a:pt x="181" y="348"/>
                  </a:lnTo>
                  <a:lnTo>
                    <a:pt x="182" y="336"/>
                  </a:lnTo>
                  <a:lnTo>
                    <a:pt x="184" y="323"/>
                  </a:lnTo>
                  <a:lnTo>
                    <a:pt x="187" y="311"/>
                  </a:lnTo>
                  <a:lnTo>
                    <a:pt x="191" y="299"/>
                  </a:lnTo>
                  <a:lnTo>
                    <a:pt x="195" y="287"/>
                  </a:lnTo>
                  <a:lnTo>
                    <a:pt x="199" y="276"/>
                  </a:lnTo>
                  <a:lnTo>
                    <a:pt x="204" y="264"/>
                  </a:lnTo>
                  <a:lnTo>
                    <a:pt x="210" y="253"/>
                  </a:lnTo>
                  <a:lnTo>
                    <a:pt x="216" y="243"/>
                  </a:lnTo>
                  <a:lnTo>
                    <a:pt x="223" y="232"/>
                  </a:lnTo>
                  <a:lnTo>
                    <a:pt x="230" y="222"/>
                  </a:lnTo>
                  <a:lnTo>
                    <a:pt x="238" y="213"/>
                  </a:lnTo>
                  <a:lnTo>
                    <a:pt x="245" y="204"/>
                  </a:lnTo>
                  <a:lnTo>
                    <a:pt x="254" y="194"/>
                  </a:lnTo>
                  <a:lnTo>
                    <a:pt x="263" y="186"/>
                  </a:lnTo>
                  <a:lnTo>
                    <a:pt x="272" y="178"/>
                  </a:lnTo>
                  <a:lnTo>
                    <a:pt x="282" y="171"/>
                  </a:lnTo>
                  <a:lnTo>
                    <a:pt x="291" y="163"/>
                  </a:lnTo>
                  <a:lnTo>
                    <a:pt x="302" y="157"/>
                  </a:lnTo>
                  <a:lnTo>
                    <a:pt x="313" y="151"/>
                  </a:lnTo>
                  <a:lnTo>
                    <a:pt x="323" y="145"/>
                  </a:lnTo>
                  <a:lnTo>
                    <a:pt x="335" y="140"/>
                  </a:lnTo>
                  <a:lnTo>
                    <a:pt x="347" y="136"/>
                  </a:lnTo>
                  <a:lnTo>
                    <a:pt x="359" y="131"/>
                  </a:lnTo>
                  <a:lnTo>
                    <a:pt x="370" y="128"/>
                  </a:lnTo>
                  <a:lnTo>
                    <a:pt x="382" y="125"/>
                  </a:lnTo>
                  <a:lnTo>
                    <a:pt x="395" y="123"/>
                  </a:lnTo>
                  <a:lnTo>
                    <a:pt x="408" y="121"/>
                  </a:lnTo>
                  <a:lnTo>
                    <a:pt x="421" y="119"/>
                  </a:lnTo>
                  <a:lnTo>
                    <a:pt x="433" y="119"/>
                  </a:lnTo>
                  <a:lnTo>
                    <a:pt x="446" y="119"/>
                  </a:lnTo>
                  <a:lnTo>
                    <a:pt x="459" y="121"/>
                  </a:lnTo>
                  <a:lnTo>
                    <a:pt x="472" y="123"/>
                  </a:lnTo>
                  <a:lnTo>
                    <a:pt x="485" y="125"/>
                  </a:lnTo>
                  <a:lnTo>
                    <a:pt x="498" y="128"/>
                  </a:lnTo>
                  <a:lnTo>
                    <a:pt x="509" y="131"/>
                  </a:lnTo>
                  <a:lnTo>
                    <a:pt x="521" y="136"/>
                  </a:lnTo>
                  <a:lnTo>
                    <a:pt x="533" y="140"/>
                  </a:lnTo>
                  <a:lnTo>
                    <a:pt x="544" y="145"/>
                  </a:lnTo>
                  <a:lnTo>
                    <a:pt x="554" y="151"/>
                  </a:lnTo>
                  <a:lnTo>
                    <a:pt x="565" y="157"/>
                  </a:lnTo>
                  <a:lnTo>
                    <a:pt x="576" y="163"/>
                  </a:lnTo>
                  <a:lnTo>
                    <a:pt x="585" y="171"/>
                  </a:lnTo>
                  <a:lnTo>
                    <a:pt x="595" y="178"/>
                  </a:lnTo>
                  <a:lnTo>
                    <a:pt x="605" y="186"/>
                  </a:lnTo>
                  <a:lnTo>
                    <a:pt x="613" y="194"/>
                  </a:lnTo>
                  <a:lnTo>
                    <a:pt x="622" y="204"/>
                  </a:lnTo>
                  <a:lnTo>
                    <a:pt x="629" y="213"/>
                  </a:lnTo>
                  <a:lnTo>
                    <a:pt x="638" y="222"/>
                  </a:lnTo>
                  <a:lnTo>
                    <a:pt x="644" y="232"/>
                  </a:lnTo>
                  <a:lnTo>
                    <a:pt x="651" y="243"/>
                  </a:lnTo>
                  <a:lnTo>
                    <a:pt x="657" y="253"/>
                  </a:lnTo>
                  <a:lnTo>
                    <a:pt x="662" y="264"/>
                  </a:lnTo>
                  <a:lnTo>
                    <a:pt x="668" y="276"/>
                  </a:lnTo>
                  <a:lnTo>
                    <a:pt x="672" y="287"/>
                  </a:lnTo>
                  <a:lnTo>
                    <a:pt x="676" y="299"/>
                  </a:lnTo>
                  <a:lnTo>
                    <a:pt x="680" y="311"/>
                  </a:lnTo>
                  <a:lnTo>
                    <a:pt x="683" y="323"/>
                  </a:lnTo>
                  <a:lnTo>
                    <a:pt x="685" y="336"/>
                  </a:lnTo>
                  <a:lnTo>
                    <a:pt x="687" y="348"/>
                  </a:lnTo>
                  <a:lnTo>
                    <a:pt x="687" y="361"/>
                  </a:lnTo>
                  <a:lnTo>
                    <a:pt x="688" y="374"/>
                  </a:lnTo>
                  <a:lnTo>
                    <a:pt x="687" y="387"/>
                  </a:lnTo>
                  <a:lnTo>
                    <a:pt x="687" y="400"/>
                  </a:lnTo>
                  <a:lnTo>
                    <a:pt x="685" y="413"/>
                  </a:lnTo>
                  <a:lnTo>
                    <a:pt x="683" y="425"/>
                  </a:lnTo>
                  <a:lnTo>
                    <a:pt x="680" y="437"/>
                  </a:lnTo>
                  <a:lnTo>
                    <a:pt x="676" y="450"/>
                  </a:lnTo>
                  <a:lnTo>
                    <a:pt x="672" y="462"/>
                  </a:lnTo>
                  <a:lnTo>
                    <a:pt x="668" y="473"/>
                  </a:lnTo>
                  <a:lnTo>
                    <a:pt x="662" y="484"/>
                  </a:lnTo>
                  <a:lnTo>
                    <a:pt x="657" y="495"/>
                  </a:lnTo>
                  <a:lnTo>
                    <a:pt x="651" y="506"/>
                  </a:lnTo>
                  <a:lnTo>
                    <a:pt x="644" y="516"/>
                  </a:lnTo>
                  <a:lnTo>
                    <a:pt x="638" y="526"/>
                  </a:lnTo>
                  <a:lnTo>
                    <a:pt x="629" y="536"/>
                  </a:lnTo>
                  <a:lnTo>
                    <a:pt x="622" y="545"/>
                  </a:lnTo>
                  <a:lnTo>
                    <a:pt x="613" y="554"/>
                  </a:lnTo>
                  <a:lnTo>
                    <a:pt x="605" y="562"/>
                  </a:lnTo>
                  <a:lnTo>
                    <a:pt x="595" y="570"/>
                  </a:lnTo>
                  <a:lnTo>
                    <a:pt x="585" y="577"/>
                  </a:lnTo>
                  <a:lnTo>
                    <a:pt x="576" y="585"/>
                  </a:lnTo>
                  <a:lnTo>
                    <a:pt x="565" y="591"/>
                  </a:lnTo>
                  <a:lnTo>
                    <a:pt x="554" y="598"/>
                  </a:lnTo>
                  <a:lnTo>
                    <a:pt x="544" y="603"/>
                  </a:lnTo>
                  <a:lnTo>
                    <a:pt x="533" y="608"/>
                  </a:lnTo>
                  <a:lnTo>
                    <a:pt x="521" y="613"/>
                  </a:lnTo>
                  <a:lnTo>
                    <a:pt x="509" y="617"/>
                  </a:lnTo>
                  <a:lnTo>
                    <a:pt x="498" y="620"/>
                  </a:lnTo>
                  <a:lnTo>
                    <a:pt x="485" y="623"/>
                  </a:lnTo>
                  <a:lnTo>
                    <a:pt x="472" y="626"/>
                  </a:lnTo>
                  <a:lnTo>
                    <a:pt x="459" y="627"/>
                  </a:lnTo>
                  <a:lnTo>
                    <a:pt x="446" y="628"/>
                  </a:lnTo>
                  <a:lnTo>
                    <a:pt x="433" y="628"/>
                  </a:lnTo>
                  <a:close/>
                  <a:moveTo>
                    <a:pt x="184" y="643"/>
                  </a:moveTo>
                  <a:lnTo>
                    <a:pt x="181" y="643"/>
                  </a:lnTo>
                  <a:lnTo>
                    <a:pt x="178" y="642"/>
                  </a:lnTo>
                  <a:lnTo>
                    <a:pt x="175" y="639"/>
                  </a:lnTo>
                  <a:lnTo>
                    <a:pt x="171" y="637"/>
                  </a:lnTo>
                  <a:lnTo>
                    <a:pt x="169" y="634"/>
                  </a:lnTo>
                  <a:lnTo>
                    <a:pt x="167" y="631"/>
                  </a:lnTo>
                  <a:lnTo>
                    <a:pt x="166" y="628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7" y="616"/>
                  </a:lnTo>
                  <a:lnTo>
                    <a:pt x="169" y="613"/>
                  </a:lnTo>
                  <a:lnTo>
                    <a:pt x="171" y="609"/>
                  </a:lnTo>
                  <a:lnTo>
                    <a:pt x="175" y="607"/>
                  </a:lnTo>
                  <a:lnTo>
                    <a:pt x="178" y="605"/>
                  </a:lnTo>
                  <a:lnTo>
                    <a:pt x="181" y="604"/>
                  </a:lnTo>
                  <a:lnTo>
                    <a:pt x="184" y="604"/>
                  </a:lnTo>
                  <a:lnTo>
                    <a:pt x="188" y="604"/>
                  </a:lnTo>
                  <a:lnTo>
                    <a:pt x="192" y="605"/>
                  </a:lnTo>
                  <a:lnTo>
                    <a:pt x="195" y="607"/>
                  </a:lnTo>
                  <a:lnTo>
                    <a:pt x="198" y="609"/>
                  </a:lnTo>
                  <a:lnTo>
                    <a:pt x="200" y="613"/>
                  </a:lnTo>
                  <a:lnTo>
                    <a:pt x="202" y="616"/>
                  </a:lnTo>
                  <a:lnTo>
                    <a:pt x="203" y="620"/>
                  </a:lnTo>
                  <a:lnTo>
                    <a:pt x="203" y="623"/>
                  </a:lnTo>
                  <a:lnTo>
                    <a:pt x="203" y="628"/>
                  </a:lnTo>
                  <a:lnTo>
                    <a:pt x="202" y="631"/>
                  </a:lnTo>
                  <a:lnTo>
                    <a:pt x="200" y="634"/>
                  </a:lnTo>
                  <a:lnTo>
                    <a:pt x="198" y="637"/>
                  </a:lnTo>
                  <a:lnTo>
                    <a:pt x="195" y="639"/>
                  </a:lnTo>
                  <a:lnTo>
                    <a:pt x="192" y="642"/>
                  </a:lnTo>
                  <a:lnTo>
                    <a:pt x="188" y="643"/>
                  </a:lnTo>
                  <a:lnTo>
                    <a:pt x="184" y="643"/>
                  </a:lnTo>
                  <a:close/>
                  <a:moveTo>
                    <a:pt x="129" y="698"/>
                  </a:moveTo>
                  <a:lnTo>
                    <a:pt x="124" y="698"/>
                  </a:lnTo>
                  <a:lnTo>
                    <a:pt x="121" y="697"/>
                  </a:lnTo>
                  <a:lnTo>
                    <a:pt x="118" y="695"/>
                  </a:lnTo>
                  <a:lnTo>
                    <a:pt x="115" y="693"/>
                  </a:lnTo>
                  <a:lnTo>
                    <a:pt x="112" y="691"/>
                  </a:lnTo>
                  <a:lnTo>
                    <a:pt x="110" y="688"/>
                  </a:lnTo>
                  <a:lnTo>
                    <a:pt x="109" y="684"/>
                  </a:lnTo>
                  <a:lnTo>
                    <a:pt x="109" y="680"/>
                  </a:lnTo>
                  <a:lnTo>
                    <a:pt x="109" y="677"/>
                  </a:lnTo>
                  <a:lnTo>
                    <a:pt x="110" y="673"/>
                  </a:lnTo>
                  <a:lnTo>
                    <a:pt x="112" y="669"/>
                  </a:lnTo>
                  <a:lnTo>
                    <a:pt x="115" y="667"/>
                  </a:lnTo>
                  <a:lnTo>
                    <a:pt x="118" y="664"/>
                  </a:lnTo>
                  <a:lnTo>
                    <a:pt x="121" y="663"/>
                  </a:lnTo>
                  <a:lnTo>
                    <a:pt x="124" y="662"/>
                  </a:lnTo>
                  <a:lnTo>
                    <a:pt x="129" y="661"/>
                  </a:lnTo>
                  <a:lnTo>
                    <a:pt x="132" y="662"/>
                  </a:lnTo>
                  <a:lnTo>
                    <a:pt x="135" y="663"/>
                  </a:lnTo>
                  <a:lnTo>
                    <a:pt x="138" y="664"/>
                  </a:lnTo>
                  <a:lnTo>
                    <a:pt x="141" y="667"/>
                  </a:lnTo>
                  <a:lnTo>
                    <a:pt x="143" y="669"/>
                  </a:lnTo>
                  <a:lnTo>
                    <a:pt x="146" y="673"/>
                  </a:lnTo>
                  <a:lnTo>
                    <a:pt x="147" y="677"/>
                  </a:lnTo>
                  <a:lnTo>
                    <a:pt x="147" y="680"/>
                  </a:lnTo>
                  <a:lnTo>
                    <a:pt x="147" y="684"/>
                  </a:lnTo>
                  <a:lnTo>
                    <a:pt x="146" y="688"/>
                  </a:lnTo>
                  <a:lnTo>
                    <a:pt x="143" y="691"/>
                  </a:lnTo>
                  <a:lnTo>
                    <a:pt x="141" y="693"/>
                  </a:lnTo>
                  <a:lnTo>
                    <a:pt x="138" y="695"/>
                  </a:lnTo>
                  <a:lnTo>
                    <a:pt x="135" y="697"/>
                  </a:lnTo>
                  <a:lnTo>
                    <a:pt x="132" y="698"/>
                  </a:lnTo>
                  <a:lnTo>
                    <a:pt x="129" y="698"/>
                  </a:lnTo>
                  <a:close/>
                  <a:moveTo>
                    <a:pt x="530" y="108"/>
                  </a:moveTo>
                  <a:lnTo>
                    <a:pt x="507" y="100"/>
                  </a:lnTo>
                  <a:lnTo>
                    <a:pt x="484" y="95"/>
                  </a:lnTo>
                  <a:lnTo>
                    <a:pt x="471" y="93"/>
                  </a:lnTo>
                  <a:lnTo>
                    <a:pt x="459" y="91"/>
                  </a:lnTo>
                  <a:lnTo>
                    <a:pt x="446" y="91"/>
                  </a:lnTo>
                  <a:lnTo>
                    <a:pt x="433" y="90"/>
                  </a:lnTo>
                  <a:lnTo>
                    <a:pt x="420" y="91"/>
                  </a:lnTo>
                  <a:lnTo>
                    <a:pt x="405" y="92"/>
                  </a:lnTo>
                  <a:lnTo>
                    <a:pt x="391" y="93"/>
                  </a:lnTo>
                  <a:lnTo>
                    <a:pt x="377" y="96"/>
                  </a:lnTo>
                  <a:lnTo>
                    <a:pt x="363" y="99"/>
                  </a:lnTo>
                  <a:lnTo>
                    <a:pt x="349" y="102"/>
                  </a:lnTo>
                  <a:lnTo>
                    <a:pt x="336" y="107"/>
                  </a:lnTo>
                  <a:lnTo>
                    <a:pt x="323" y="112"/>
                  </a:lnTo>
                  <a:lnTo>
                    <a:pt x="310" y="118"/>
                  </a:lnTo>
                  <a:lnTo>
                    <a:pt x="299" y="125"/>
                  </a:lnTo>
                  <a:lnTo>
                    <a:pt x="287" y="131"/>
                  </a:lnTo>
                  <a:lnTo>
                    <a:pt x="275" y="139"/>
                  </a:lnTo>
                  <a:lnTo>
                    <a:pt x="263" y="146"/>
                  </a:lnTo>
                  <a:lnTo>
                    <a:pt x="253" y="155"/>
                  </a:lnTo>
                  <a:lnTo>
                    <a:pt x="243" y="164"/>
                  </a:lnTo>
                  <a:lnTo>
                    <a:pt x="233" y="173"/>
                  </a:lnTo>
                  <a:lnTo>
                    <a:pt x="224" y="184"/>
                  </a:lnTo>
                  <a:lnTo>
                    <a:pt x="214" y="193"/>
                  </a:lnTo>
                  <a:lnTo>
                    <a:pt x="206" y="204"/>
                  </a:lnTo>
                  <a:lnTo>
                    <a:pt x="198" y="216"/>
                  </a:lnTo>
                  <a:lnTo>
                    <a:pt x="191" y="228"/>
                  </a:lnTo>
                  <a:lnTo>
                    <a:pt x="184" y="239"/>
                  </a:lnTo>
                  <a:lnTo>
                    <a:pt x="178" y="251"/>
                  </a:lnTo>
                  <a:lnTo>
                    <a:pt x="172" y="264"/>
                  </a:lnTo>
                  <a:lnTo>
                    <a:pt x="167" y="277"/>
                  </a:lnTo>
                  <a:lnTo>
                    <a:pt x="163" y="290"/>
                  </a:lnTo>
                  <a:lnTo>
                    <a:pt x="158" y="303"/>
                  </a:lnTo>
                  <a:lnTo>
                    <a:pt x="155" y="317"/>
                  </a:lnTo>
                  <a:lnTo>
                    <a:pt x="153" y="331"/>
                  </a:lnTo>
                  <a:lnTo>
                    <a:pt x="151" y="345"/>
                  </a:lnTo>
                  <a:lnTo>
                    <a:pt x="150" y="359"/>
                  </a:lnTo>
                  <a:lnTo>
                    <a:pt x="150" y="374"/>
                  </a:lnTo>
                  <a:lnTo>
                    <a:pt x="150" y="387"/>
                  </a:lnTo>
                  <a:lnTo>
                    <a:pt x="151" y="400"/>
                  </a:lnTo>
                  <a:lnTo>
                    <a:pt x="152" y="412"/>
                  </a:lnTo>
                  <a:lnTo>
                    <a:pt x="154" y="424"/>
                  </a:lnTo>
                  <a:lnTo>
                    <a:pt x="160" y="448"/>
                  </a:lnTo>
                  <a:lnTo>
                    <a:pt x="167" y="471"/>
                  </a:lnTo>
                  <a:lnTo>
                    <a:pt x="4" y="631"/>
                  </a:lnTo>
                  <a:lnTo>
                    <a:pt x="2" y="634"/>
                  </a:lnTo>
                  <a:lnTo>
                    <a:pt x="1" y="636"/>
                  </a:lnTo>
                  <a:lnTo>
                    <a:pt x="0" y="639"/>
                  </a:lnTo>
                  <a:lnTo>
                    <a:pt x="0" y="643"/>
                  </a:lnTo>
                  <a:lnTo>
                    <a:pt x="0" y="792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2" y="801"/>
                  </a:lnTo>
                  <a:lnTo>
                    <a:pt x="4" y="803"/>
                  </a:lnTo>
                  <a:lnTo>
                    <a:pt x="7" y="805"/>
                  </a:lnTo>
                  <a:lnTo>
                    <a:pt x="9" y="806"/>
                  </a:lnTo>
                  <a:lnTo>
                    <a:pt x="12" y="807"/>
                  </a:lnTo>
                  <a:lnTo>
                    <a:pt x="15" y="807"/>
                  </a:lnTo>
                  <a:lnTo>
                    <a:pt x="166" y="807"/>
                  </a:lnTo>
                  <a:lnTo>
                    <a:pt x="169" y="807"/>
                  </a:lnTo>
                  <a:lnTo>
                    <a:pt x="171" y="806"/>
                  </a:lnTo>
                  <a:lnTo>
                    <a:pt x="175" y="805"/>
                  </a:lnTo>
                  <a:lnTo>
                    <a:pt x="177" y="803"/>
                  </a:lnTo>
                  <a:lnTo>
                    <a:pt x="337" y="642"/>
                  </a:lnTo>
                  <a:lnTo>
                    <a:pt x="361" y="648"/>
                  </a:lnTo>
                  <a:lnTo>
                    <a:pt x="384" y="653"/>
                  </a:lnTo>
                  <a:lnTo>
                    <a:pt x="396" y="655"/>
                  </a:lnTo>
                  <a:lnTo>
                    <a:pt x="409" y="657"/>
                  </a:lnTo>
                  <a:lnTo>
                    <a:pt x="421" y="658"/>
                  </a:lnTo>
                  <a:lnTo>
                    <a:pt x="433" y="658"/>
                  </a:lnTo>
                  <a:lnTo>
                    <a:pt x="448" y="658"/>
                  </a:lnTo>
                  <a:lnTo>
                    <a:pt x="462" y="657"/>
                  </a:lnTo>
                  <a:lnTo>
                    <a:pt x="477" y="654"/>
                  </a:lnTo>
                  <a:lnTo>
                    <a:pt x="491" y="652"/>
                  </a:lnTo>
                  <a:lnTo>
                    <a:pt x="504" y="649"/>
                  </a:lnTo>
                  <a:lnTo>
                    <a:pt x="518" y="645"/>
                  </a:lnTo>
                  <a:lnTo>
                    <a:pt x="531" y="640"/>
                  </a:lnTo>
                  <a:lnTo>
                    <a:pt x="544" y="635"/>
                  </a:lnTo>
                  <a:lnTo>
                    <a:pt x="557" y="630"/>
                  </a:lnTo>
                  <a:lnTo>
                    <a:pt x="569" y="623"/>
                  </a:lnTo>
                  <a:lnTo>
                    <a:pt x="581" y="617"/>
                  </a:lnTo>
                  <a:lnTo>
                    <a:pt x="593" y="609"/>
                  </a:lnTo>
                  <a:lnTo>
                    <a:pt x="604" y="602"/>
                  </a:lnTo>
                  <a:lnTo>
                    <a:pt x="614" y="593"/>
                  </a:lnTo>
                  <a:lnTo>
                    <a:pt x="625" y="584"/>
                  </a:lnTo>
                  <a:lnTo>
                    <a:pt x="635" y="575"/>
                  </a:lnTo>
                  <a:lnTo>
                    <a:pt x="644" y="565"/>
                  </a:lnTo>
                  <a:lnTo>
                    <a:pt x="653" y="555"/>
                  </a:lnTo>
                  <a:lnTo>
                    <a:pt x="661" y="544"/>
                  </a:lnTo>
                  <a:lnTo>
                    <a:pt x="669" y="532"/>
                  </a:lnTo>
                  <a:lnTo>
                    <a:pt x="676" y="522"/>
                  </a:lnTo>
                  <a:lnTo>
                    <a:pt x="684" y="509"/>
                  </a:lnTo>
                  <a:lnTo>
                    <a:pt x="690" y="497"/>
                  </a:lnTo>
                  <a:lnTo>
                    <a:pt x="696" y="484"/>
                  </a:lnTo>
                  <a:lnTo>
                    <a:pt x="701" y="471"/>
                  </a:lnTo>
                  <a:lnTo>
                    <a:pt x="705" y="459"/>
                  </a:lnTo>
                  <a:lnTo>
                    <a:pt x="708" y="445"/>
                  </a:lnTo>
                  <a:lnTo>
                    <a:pt x="712" y="431"/>
                  </a:lnTo>
                  <a:lnTo>
                    <a:pt x="715" y="417"/>
                  </a:lnTo>
                  <a:lnTo>
                    <a:pt x="716" y="403"/>
                  </a:lnTo>
                  <a:lnTo>
                    <a:pt x="717" y="388"/>
                  </a:lnTo>
                  <a:lnTo>
                    <a:pt x="718" y="374"/>
                  </a:lnTo>
                  <a:lnTo>
                    <a:pt x="717" y="361"/>
                  </a:lnTo>
                  <a:lnTo>
                    <a:pt x="717" y="350"/>
                  </a:lnTo>
                  <a:lnTo>
                    <a:pt x="715" y="337"/>
                  </a:lnTo>
                  <a:lnTo>
                    <a:pt x="714" y="325"/>
                  </a:lnTo>
                  <a:lnTo>
                    <a:pt x="708" y="301"/>
                  </a:lnTo>
                  <a:lnTo>
                    <a:pt x="701" y="278"/>
                  </a:lnTo>
                  <a:lnTo>
                    <a:pt x="804" y="175"/>
                  </a:lnTo>
                  <a:lnTo>
                    <a:pt x="808" y="172"/>
                  </a:lnTo>
                  <a:lnTo>
                    <a:pt x="637" y="0"/>
                  </a:lnTo>
                  <a:lnTo>
                    <a:pt x="530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4453"/>
            <p:cNvSpPr>
              <a:spLocks/>
            </p:cNvSpPr>
            <p:nvPr/>
          </p:nvSpPr>
          <p:spPr bwMode="auto">
            <a:xfrm>
              <a:off x="3884860" y="4317117"/>
              <a:ext cx="44450" cy="74613"/>
            </a:xfrm>
            <a:custGeom>
              <a:avLst/>
              <a:gdLst>
                <a:gd name="T0" fmla="*/ 30 w 140"/>
                <a:gd name="T1" fmla="*/ 103 h 238"/>
                <a:gd name="T2" fmla="*/ 30 w 140"/>
                <a:gd name="T3" fmla="*/ 15 h 238"/>
                <a:gd name="T4" fmla="*/ 30 w 140"/>
                <a:gd name="T5" fmla="*/ 12 h 238"/>
                <a:gd name="T6" fmla="*/ 29 w 140"/>
                <a:gd name="T7" fmla="*/ 9 h 238"/>
                <a:gd name="T8" fmla="*/ 28 w 140"/>
                <a:gd name="T9" fmla="*/ 7 h 238"/>
                <a:gd name="T10" fmla="*/ 26 w 140"/>
                <a:gd name="T11" fmla="*/ 5 h 238"/>
                <a:gd name="T12" fmla="*/ 24 w 140"/>
                <a:gd name="T13" fmla="*/ 2 h 238"/>
                <a:gd name="T14" fmla="*/ 22 w 140"/>
                <a:gd name="T15" fmla="*/ 1 h 238"/>
                <a:gd name="T16" fmla="*/ 19 w 140"/>
                <a:gd name="T17" fmla="*/ 0 h 238"/>
                <a:gd name="T18" fmla="*/ 15 w 140"/>
                <a:gd name="T19" fmla="*/ 0 h 238"/>
                <a:gd name="T20" fmla="*/ 12 w 140"/>
                <a:gd name="T21" fmla="*/ 0 h 238"/>
                <a:gd name="T22" fmla="*/ 10 w 140"/>
                <a:gd name="T23" fmla="*/ 1 h 238"/>
                <a:gd name="T24" fmla="*/ 7 w 140"/>
                <a:gd name="T25" fmla="*/ 2 h 238"/>
                <a:gd name="T26" fmla="*/ 5 w 140"/>
                <a:gd name="T27" fmla="*/ 5 h 238"/>
                <a:gd name="T28" fmla="*/ 4 w 140"/>
                <a:gd name="T29" fmla="*/ 7 h 238"/>
                <a:gd name="T30" fmla="*/ 2 w 140"/>
                <a:gd name="T31" fmla="*/ 9 h 238"/>
                <a:gd name="T32" fmla="*/ 2 w 140"/>
                <a:gd name="T33" fmla="*/ 12 h 238"/>
                <a:gd name="T34" fmla="*/ 0 w 140"/>
                <a:gd name="T35" fmla="*/ 15 h 238"/>
                <a:gd name="T36" fmla="*/ 0 w 140"/>
                <a:gd name="T37" fmla="*/ 109 h 238"/>
                <a:gd name="T38" fmla="*/ 0 w 140"/>
                <a:gd name="T39" fmla="*/ 113 h 238"/>
                <a:gd name="T40" fmla="*/ 2 w 140"/>
                <a:gd name="T41" fmla="*/ 115 h 238"/>
                <a:gd name="T42" fmla="*/ 3 w 140"/>
                <a:gd name="T43" fmla="*/ 118 h 238"/>
                <a:gd name="T44" fmla="*/ 5 w 140"/>
                <a:gd name="T45" fmla="*/ 120 h 238"/>
                <a:gd name="T46" fmla="*/ 114 w 140"/>
                <a:gd name="T47" fmla="*/ 233 h 238"/>
                <a:gd name="T48" fmla="*/ 116 w 140"/>
                <a:gd name="T49" fmla="*/ 236 h 238"/>
                <a:gd name="T50" fmla="*/ 119 w 140"/>
                <a:gd name="T51" fmla="*/ 237 h 238"/>
                <a:gd name="T52" fmla="*/ 122 w 140"/>
                <a:gd name="T53" fmla="*/ 238 h 238"/>
                <a:gd name="T54" fmla="*/ 125 w 140"/>
                <a:gd name="T55" fmla="*/ 238 h 238"/>
                <a:gd name="T56" fmla="*/ 128 w 140"/>
                <a:gd name="T57" fmla="*/ 238 h 238"/>
                <a:gd name="T58" fmla="*/ 130 w 140"/>
                <a:gd name="T59" fmla="*/ 237 h 238"/>
                <a:gd name="T60" fmla="*/ 133 w 140"/>
                <a:gd name="T61" fmla="*/ 236 h 238"/>
                <a:gd name="T62" fmla="*/ 135 w 140"/>
                <a:gd name="T63" fmla="*/ 233 h 238"/>
                <a:gd name="T64" fmla="*/ 137 w 140"/>
                <a:gd name="T65" fmla="*/ 231 h 238"/>
                <a:gd name="T66" fmla="*/ 139 w 140"/>
                <a:gd name="T67" fmla="*/ 228 h 238"/>
                <a:gd name="T68" fmla="*/ 140 w 140"/>
                <a:gd name="T69" fmla="*/ 226 h 238"/>
                <a:gd name="T70" fmla="*/ 140 w 140"/>
                <a:gd name="T71" fmla="*/ 223 h 238"/>
                <a:gd name="T72" fmla="*/ 140 w 140"/>
                <a:gd name="T73" fmla="*/ 221 h 238"/>
                <a:gd name="T74" fmla="*/ 139 w 140"/>
                <a:gd name="T75" fmla="*/ 217 h 238"/>
                <a:gd name="T76" fmla="*/ 137 w 140"/>
                <a:gd name="T77" fmla="*/ 215 h 238"/>
                <a:gd name="T78" fmla="*/ 135 w 140"/>
                <a:gd name="T79" fmla="*/ 212 h 238"/>
                <a:gd name="T80" fmla="*/ 30 w 140"/>
                <a:gd name="T81" fmla="*/ 10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0" h="238">
                  <a:moveTo>
                    <a:pt x="30" y="103"/>
                  </a:move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5"/>
                  </a:lnTo>
                  <a:lnTo>
                    <a:pt x="3" y="118"/>
                  </a:lnTo>
                  <a:lnTo>
                    <a:pt x="5" y="120"/>
                  </a:lnTo>
                  <a:lnTo>
                    <a:pt x="114" y="233"/>
                  </a:lnTo>
                  <a:lnTo>
                    <a:pt x="116" y="236"/>
                  </a:lnTo>
                  <a:lnTo>
                    <a:pt x="119" y="237"/>
                  </a:lnTo>
                  <a:lnTo>
                    <a:pt x="122" y="238"/>
                  </a:lnTo>
                  <a:lnTo>
                    <a:pt x="125" y="238"/>
                  </a:lnTo>
                  <a:lnTo>
                    <a:pt x="128" y="238"/>
                  </a:lnTo>
                  <a:lnTo>
                    <a:pt x="130" y="237"/>
                  </a:lnTo>
                  <a:lnTo>
                    <a:pt x="133" y="236"/>
                  </a:lnTo>
                  <a:lnTo>
                    <a:pt x="135" y="233"/>
                  </a:lnTo>
                  <a:lnTo>
                    <a:pt x="137" y="231"/>
                  </a:lnTo>
                  <a:lnTo>
                    <a:pt x="139" y="228"/>
                  </a:lnTo>
                  <a:lnTo>
                    <a:pt x="140" y="226"/>
                  </a:lnTo>
                  <a:lnTo>
                    <a:pt x="140" y="223"/>
                  </a:lnTo>
                  <a:lnTo>
                    <a:pt x="140" y="221"/>
                  </a:lnTo>
                  <a:lnTo>
                    <a:pt x="139" y="217"/>
                  </a:lnTo>
                  <a:lnTo>
                    <a:pt x="137" y="215"/>
                  </a:lnTo>
                  <a:lnTo>
                    <a:pt x="135" y="212"/>
                  </a:lnTo>
                  <a:lnTo>
                    <a:pt x="3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0" name="Rounded Rectangle 169"/>
          <p:cNvSpPr/>
          <p:nvPr/>
        </p:nvSpPr>
        <p:spPr>
          <a:xfrm>
            <a:off x="6626388" y="2926449"/>
            <a:ext cx="236572" cy="2203853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1" name="Rounded Rectangle 170"/>
          <p:cNvSpPr/>
          <p:nvPr/>
        </p:nvSpPr>
        <p:spPr>
          <a:xfrm rot="10800000">
            <a:off x="6626388" y="4027439"/>
            <a:ext cx="236572" cy="1102864"/>
          </a:xfrm>
          <a:prstGeom prst="roundRect">
            <a:avLst>
              <a:gd name="adj" fmla="val 47675"/>
            </a:avLst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2" name="Rounded Rectangle 171"/>
          <p:cNvSpPr/>
          <p:nvPr/>
        </p:nvSpPr>
        <p:spPr>
          <a:xfrm>
            <a:off x="7273847" y="2926449"/>
            <a:ext cx="236572" cy="2203853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3" name="Rounded Rectangle 172"/>
          <p:cNvSpPr/>
          <p:nvPr/>
        </p:nvSpPr>
        <p:spPr>
          <a:xfrm rot="10800000">
            <a:off x="7269796" y="3614806"/>
            <a:ext cx="236572" cy="1515495"/>
          </a:xfrm>
          <a:prstGeom prst="roundRect">
            <a:avLst>
              <a:gd name="adj" fmla="val 50000"/>
            </a:avLst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4" name="Rounded Rectangle 173"/>
          <p:cNvSpPr/>
          <p:nvPr/>
        </p:nvSpPr>
        <p:spPr>
          <a:xfrm>
            <a:off x="7921306" y="2926449"/>
            <a:ext cx="236572" cy="2203853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5" name="Rounded Rectangle 174"/>
          <p:cNvSpPr/>
          <p:nvPr/>
        </p:nvSpPr>
        <p:spPr>
          <a:xfrm rot="10800000">
            <a:off x="7921306" y="4040956"/>
            <a:ext cx="236572" cy="1089345"/>
          </a:xfrm>
          <a:prstGeom prst="roundRect">
            <a:avLst>
              <a:gd name="adj" fmla="val 50000"/>
            </a:avLst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6" name="Oval 175"/>
          <p:cNvSpPr/>
          <p:nvPr/>
        </p:nvSpPr>
        <p:spPr>
          <a:xfrm>
            <a:off x="7224043" y="3425975"/>
            <a:ext cx="336181" cy="336181"/>
          </a:xfrm>
          <a:prstGeom prst="ellipse">
            <a:avLst/>
          </a:prstGeom>
          <a:solidFill>
            <a:srgbClr val="46B688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6576583" y="3882807"/>
            <a:ext cx="336181" cy="336181"/>
          </a:xfrm>
          <a:prstGeom prst="ellipse">
            <a:avLst/>
          </a:prstGeom>
          <a:solidFill>
            <a:srgbClr val="016AA3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8" name="Oval 177"/>
          <p:cNvSpPr/>
          <p:nvPr/>
        </p:nvSpPr>
        <p:spPr>
          <a:xfrm>
            <a:off x="7871502" y="3872865"/>
            <a:ext cx="336181" cy="336181"/>
          </a:xfrm>
          <a:prstGeom prst="ellipse">
            <a:avLst/>
          </a:prstGeom>
          <a:solidFill>
            <a:srgbClr val="FEA34F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6319722" y="5558405"/>
            <a:ext cx="2136719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00" dirty="0" err="1">
                <a:solidFill>
                  <a:prstClr val="black"/>
                </a:solidFill>
              </a:rPr>
              <a:t>Lorem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en-US" sz="1000" dirty="0" err="1">
                <a:solidFill>
                  <a:prstClr val="black"/>
                </a:solidFill>
              </a:rPr>
              <a:t>Ipsum</a:t>
            </a:r>
            <a:r>
              <a:rPr lang="en-US" sz="1000" dirty="0">
                <a:solidFill>
                  <a:prstClr val="black"/>
                </a:solidFill>
              </a:rPr>
              <a:t> is simply dummy text of the printing and typesetting industry. Lorem Ipsum has been the industry's standard dummy text ever since the </a:t>
            </a:r>
            <a:r>
              <a:rPr lang="en-US" sz="1000" dirty="0" smtClean="0">
                <a:solidFill>
                  <a:prstClr val="black"/>
                </a:solidFill>
              </a:rPr>
              <a:t>1500s.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6319722" y="5308310"/>
            <a:ext cx="2136719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dirty="0" smtClean="0"/>
              <a:t>LOREM IPSUM</a:t>
            </a:r>
            <a:endParaRPr lang="en-US" sz="1200" b="1" dirty="0"/>
          </a:p>
        </p:txBody>
      </p:sp>
      <p:grpSp>
        <p:nvGrpSpPr>
          <p:cNvPr id="181" name="Group 180"/>
          <p:cNvGrpSpPr/>
          <p:nvPr/>
        </p:nvGrpSpPr>
        <p:grpSpPr>
          <a:xfrm>
            <a:off x="7328539" y="3530974"/>
            <a:ext cx="126181" cy="126181"/>
            <a:chOff x="4319588" y="2492375"/>
            <a:chExt cx="287338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0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6676813" y="3990955"/>
            <a:ext cx="135719" cy="119885"/>
            <a:chOff x="7600950" y="779463"/>
            <a:chExt cx="285750" cy="252412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88" name="Freeform 3135"/>
            <p:cNvSpPr>
              <a:spLocks/>
            </p:cNvSpPr>
            <p:nvPr/>
          </p:nvSpPr>
          <p:spPr bwMode="auto">
            <a:xfrm>
              <a:off x="7677150" y="779463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7970468" y="3971832"/>
            <a:ext cx="138246" cy="138246"/>
            <a:chOff x="3753097" y="4202817"/>
            <a:chExt cx="284163" cy="284163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84" name="Freeform 4450"/>
            <p:cNvSpPr>
              <a:spLocks/>
            </p:cNvSpPr>
            <p:nvPr/>
          </p:nvSpPr>
          <p:spPr bwMode="auto">
            <a:xfrm>
              <a:off x="3992810" y="4231392"/>
              <a:ext cx="44450" cy="47625"/>
            </a:xfrm>
            <a:custGeom>
              <a:avLst/>
              <a:gdLst>
                <a:gd name="T0" fmla="*/ 138 w 143"/>
                <a:gd name="T1" fmla="*/ 64 h 150"/>
                <a:gd name="T2" fmla="*/ 74 w 143"/>
                <a:gd name="T3" fmla="*/ 0 h 150"/>
                <a:gd name="T4" fmla="*/ 0 w 143"/>
                <a:gd name="T5" fmla="*/ 73 h 150"/>
                <a:gd name="T6" fmla="*/ 75 w 143"/>
                <a:gd name="T7" fmla="*/ 150 h 150"/>
                <a:gd name="T8" fmla="*/ 138 w 143"/>
                <a:gd name="T9" fmla="*/ 84 h 150"/>
                <a:gd name="T10" fmla="*/ 141 w 143"/>
                <a:gd name="T11" fmla="*/ 83 h 150"/>
                <a:gd name="T12" fmla="*/ 142 w 143"/>
                <a:gd name="T13" fmla="*/ 81 h 150"/>
                <a:gd name="T14" fmla="*/ 143 w 143"/>
                <a:gd name="T15" fmla="*/ 78 h 150"/>
                <a:gd name="T16" fmla="*/ 143 w 143"/>
                <a:gd name="T17" fmla="*/ 75 h 150"/>
                <a:gd name="T18" fmla="*/ 142 w 143"/>
                <a:gd name="T19" fmla="*/ 69 h 150"/>
                <a:gd name="T20" fmla="*/ 138 w 143"/>
                <a:gd name="T21" fmla="*/ 6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0">
                  <a:moveTo>
                    <a:pt x="138" y="64"/>
                  </a:moveTo>
                  <a:lnTo>
                    <a:pt x="74" y="0"/>
                  </a:lnTo>
                  <a:lnTo>
                    <a:pt x="0" y="73"/>
                  </a:lnTo>
                  <a:lnTo>
                    <a:pt x="75" y="150"/>
                  </a:lnTo>
                  <a:lnTo>
                    <a:pt x="138" y="84"/>
                  </a:lnTo>
                  <a:lnTo>
                    <a:pt x="141" y="83"/>
                  </a:lnTo>
                  <a:lnTo>
                    <a:pt x="142" y="81"/>
                  </a:lnTo>
                  <a:lnTo>
                    <a:pt x="143" y="78"/>
                  </a:lnTo>
                  <a:lnTo>
                    <a:pt x="143" y="75"/>
                  </a:lnTo>
                  <a:lnTo>
                    <a:pt x="142" y="69"/>
                  </a:lnTo>
                  <a:lnTo>
                    <a:pt x="13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4451"/>
            <p:cNvSpPr>
              <a:spLocks/>
            </p:cNvSpPr>
            <p:nvPr/>
          </p:nvSpPr>
          <p:spPr bwMode="auto">
            <a:xfrm>
              <a:off x="3961060" y="4202817"/>
              <a:ext cx="47625" cy="46038"/>
            </a:xfrm>
            <a:custGeom>
              <a:avLst/>
              <a:gdLst>
                <a:gd name="T0" fmla="*/ 149 w 149"/>
                <a:gd name="T1" fmla="*/ 68 h 143"/>
                <a:gd name="T2" fmla="*/ 86 w 149"/>
                <a:gd name="T3" fmla="*/ 4 h 143"/>
                <a:gd name="T4" fmla="*/ 84 w 149"/>
                <a:gd name="T5" fmla="*/ 2 h 143"/>
                <a:gd name="T6" fmla="*/ 80 w 149"/>
                <a:gd name="T7" fmla="*/ 1 h 143"/>
                <a:gd name="T8" fmla="*/ 78 w 149"/>
                <a:gd name="T9" fmla="*/ 0 h 143"/>
                <a:gd name="T10" fmla="*/ 75 w 149"/>
                <a:gd name="T11" fmla="*/ 0 h 143"/>
                <a:gd name="T12" fmla="*/ 75 w 149"/>
                <a:gd name="T13" fmla="*/ 0 h 143"/>
                <a:gd name="T14" fmla="*/ 75 w 149"/>
                <a:gd name="T15" fmla="*/ 0 h 143"/>
                <a:gd name="T16" fmla="*/ 72 w 149"/>
                <a:gd name="T17" fmla="*/ 0 h 143"/>
                <a:gd name="T18" fmla="*/ 69 w 149"/>
                <a:gd name="T19" fmla="*/ 1 h 143"/>
                <a:gd name="T20" fmla="*/ 66 w 149"/>
                <a:gd name="T21" fmla="*/ 2 h 143"/>
                <a:gd name="T22" fmla="*/ 64 w 149"/>
                <a:gd name="T23" fmla="*/ 4 h 143"/>
                <a:gd name="T24" fmla="*/ 0 w 149"/>
                <a:gd name="T25" fmla="*/ 68 h 143"/>
                <a:gd name="T26" fmla="*/ 75 w 149"/>
                <a:gd name="T27" fmla="*/ 143 h 143"/>
                <a:gd name="T28" fmla="*/ 149 w 149"/>
                <a:gd name="T29" fmla="*/ 6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9" h="143">
                  <a:moveTo>
                    <a:pt x="149" y="68"/>
                  </a:move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0" y="68"/>
                  </a:lnTo>
                  <a:lnTo>
                    <a:pt x="75" y="143"/>
                  </a:lnTo>
                  <a:lnTo>
                    <a:pt x="14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452"/>
            <p:cNvSpPr>
              <a:spLocks noEditPoints="1"/>
            </p:cNvSpPr>
            <p:nvPr/>
          </p:nvSpPr>
          <p:spPr bwMode="auto">
            <a:xfrm>
              <a:off x="3753097" y="4231392"/>
              <a:ext cx="255588" cy="255588"/>
            </a:xfrm>
            <a:custGeom>
              <a:avLst/>
              <a:gdLst>
                <a:gd name="T0" fmla="*/ 382 w 808"/>
                <a:gd name="T1" fmla="*/ 623 h 807"/>
                <a:gd name="T2" fmla="*/ 323 w 808"/>
                <a:gd name="T3" fmla="*/ 603 h 807"/>
                <a:gd name="T4" fmla="*/ 272 w 808"/>
                <a:gd name="T5" fmla="*/ 570 h 807"/>
                <a:gd name="T6" fmla="*/ 230 w 808"/>
                <a:gd name="T7" fmla="*/ 526 h 807"/>
                <a:gd name="T8" fmla="*/ 199 w 808"/>
                <a:gd name="T9" fmla="*/ 473 h 807"/>
                <a:gd name="T10" fmla="*/ 182 w 808"/>
                <a:gd name="T11" fmla="*/ 413 h 807"/>
                <a:gd name="T12" fmla="*/ 181 w 808"/>
                <a:gd name="T13" fmla="*/ 348 h 807"/>
                <a:gd name="T14" fmla="*/ 195 w 808"/>
                <a:gd name="T15" fmla="*/ 287 h 807"/>
                <a:gd name="T16" fmla="*/ 223 w 808"/>
                <a:gd name="T17" fmla="*/ 232 h 807"/>
                <a:gd name="T18" fmla="*/ 263 w 808"/>
                <a:gd name="T19" fmla="*/ 186 h 807"/>
                <a:gd name="T20" fmla="*/ 313 w 808"/>
                <a:gd name="T21" fmla="*/ 151 h 807"/>
                <a:gd name="T22" fmla="*/ 370 w 808"/>
                <a:gd name="T23" fmla="*/ 128 h 807"/>
                <a:gd name="T24" fmla="*/ 433 w 808"/>
                <a:gd name="T25" fmla="*/ 119 h 807"/>
                <a:gd name="T26" fmla="*/ 498 w 808"/>
                <a:gd name="T27" fmla="*/ 128 h 807"/>
                <a:gd name="T28" fmla="*/ 554 w 808"/>
                <a:gd name="T29" fmla="*/ 151 h 807"/>
                <a:gd name="T30" fmla="*/ 605 w 808"/>
                <a:gd name="T31" fmla="*/ 186 h 807"/>
                <a:gd name="T32" fmla="*/ 644 w 808"/>
                <a:gd name="T33" fmla="*/ 232 h 807"/>
                <a:gd name="T34" fmla="*/ 672 w 808"/>
                <a:gd name="T35" fmla="*/ 287 h 807"/>
                <a:gd name="T36" fmla="*/ 687 w 808"/>
                <a:gd name="T37" fmla="*/ 348 h 807"/>
                <a:gd name="T38" fmla="*/ 685 w 808"/>
                <a:gd name="T39" fmla="*/ 413 h 807"/>
                <a:gd name="T40" fmla="*/ 668 w 808"/>
                <a:gd name="T41" fmla="*/ 473 h 807"/>
                <a:gd name="T42" fmla="*/ 638 w 808"/>
                <a:gd name="T43" fmla="*/ 526 h 807"/>
                <a:gd name="T44" fmla="*/ 595 w 808"/>
                <a:gd name="T45" fmla="*/ 570 h 807"/>
                <a:gd name="T46" fmla="*/ 544 w 808"/>
                <a:gd name="T47" fmla="*/ 603 h 807"/>
                <a:gd name="T48" fmla="*/ 485 w 808"/>
                <a:gd name="T49" fmla="*/ 623 h 807"/>
                <a:gd name="T50" fmla="*/ 184 w 808"/>
                <a:gd name="T51" fmla="*/ 643 h 807"/>
                <a:gd name="T52" fmla="*/ 169 w 808"/>
                <a:gd name="T53" fmla="*/ 634 h 807"/>
                <a:gd name="T54" fmla="*/ 167 w 808"/>
                <a:gd name="T55" fmla="*/ 616 h 807"/>
                <a:gd name="T56" fmla="*/ 181 w 808"/>
                <a:gd name="T57" fmla="*/ 604 h 807"/>
                <a:gd name="T58" fmla="*/ 198 w 808"/>
                <a:gd name="T59" fmla="*/ 609 h 807"/>
                <a:gd name="T60" fmla="*/ 203 w 808"/>
                <a:gd name="T61" fmla="*/ 628 h 807"/>
                <a:gd name="T62" fmla="*/ 192 w 808"/>
                <a:gd name="T63" fmla="*/ 642 h 807"/>
                <a:gd name="T64" fmla="*/ 121 w 808"/>
                <a:gd name="T65" fmla="*/ 697 h 807"/>
                <a:gd name="T66" fmla="*/ 109 w 808"/>
                <a:gd name="T67" fmla="*/ 684 h 807"/>
                <a:gd name="T68" fmla="*/ 115 w 808"/>
                <a:gd name="T69" fmla="*/ 667 h 807"/>
                <a:gd name="T70" fmla="*/ 132 w 808"/>
                <a:gd name="T71" fmla="*/ 662 h 807"/>
                <a:gd name="T72" fmla="*/ 146 w 808"/>
                <a:gd name="T73" fmla="*/ 673 h 807"/>
                <a:gd name="T74" fmla="*/ 143 w 808"/>
                <a:gd name="T75" fmla="*/ 691 h 807"/>
                <a:gd name="T76" fmla="*/ 129 w 808"/>
                <a:gd name="T77" fmla="*/ 698 h 807"/>
                <a:gd name="T78" fmla="*/ 459 w 808"/>
                <a:gd name="T79" fmla="*/ 91 h 807"/>
                <a:gd name="T80" fmla="*/ 391 w 808"/>
                <a:gd name="T81" fmla="*/ 93 h 807"/>
                <a:gd name="T82" fmla="*/ 323 w 808"/>
                <a:gd name="T83" fmla="*/ 112 h 807"/>
                <a:gd name="T84" fmla="*/ 263 w 808"/>
                <a:gd name="T85" fmla="*/ 146 h 807"/>
                <a:gd name="T86" fmla="*/ 214 w 808"/>
                <a:gd name="T87" fmla="*/ 193 h 807"/>
                <a:gd name="T88" fmla="*/ 178 w 808"/>
                <a:gd name="T89" fmla="*/ 251 h 807"/>
                <a:gd name="T90" fmla="*/ 155 w 808"/>
                <a:gd name="T91" fmla="*/ 317 h 807"/>
                <a:gd name="T92" fmla="*/ 150 w 808"/>
                <a:gd name="T93" fmla="*/ 387 h 807"/>
                <a:gd name="T94" fmla="*/ 167 w 808"/>
                <a:gd name="T95" fmla="*/ 471 h 807"/>
                <a:gd name="T96" fmla="*/ 0 w 808"/>
                <a:gd name="T97" fmla="*/ 643 h 807"/>
                <a:gd name="T98" fmla="*/ 4 w 808"/>
                <a:gd name="T99" fmla="*/ 803 h 807"/>
                <a:gd name="T100" fmla="*/ 166 w 808"/>
                <a:gd name="T101" fmla="*/ 807 h 807"/>
                <a:gd name="T102" fmla="*/ 337 w 808"/>
                <a:gd name="T103" fmla="*/ 642 h 807"/>
                <a:gd name="T104" fmla="*/ 421 w 808"/>
                <a:gd name="T105" fmla="*/ 658 h 807"/>
                <a:gd name="T106" fmla="*/ 491 w 808"/>
                <a:gd name="T107" fmla="*/ 652 h 807"/>
                <a:gd name="T108" fmla="*/ 557 w 808"/>
                <a:gd name="T109" fmla="*/ 630 h 807"/>
                <a:gd name="T110" fmla="*/ 614 w 808"/>
                <a:gd name="T111" fmla="*/ 593 h 807"/>
                <a:gd name="T112" fmla="*/ 661 w 808"/>
                <a:gd name="T113" fmla="*/ 544 h 807"/>
                <a:gd name="T114" fmla="*/ 696 w 808"/>
                <a:gd name="T115" fmla="*/ 484 h 807"/>
                <a:gd name="T116" fmla="*/ 715 w 808"/>
                <a:gd name="T117" fmla="*/ 417 h 807"/>
                <a:gd name="T118" fmla="*/ 717 w 808"/>
                <a:gd name="T119" fmla="*/ 350 h 807"/>
                <a:gd name="T120" fmla="*/ 804 w 808"/>
                <a:gd name="T121" fmla="*/ 175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8" h="807">
                  <a:moveTo>
                    <a:pt x="433" y="628"/>
                  </a:moveTo>
                  <a:lnTo>
                    <a:pt x="421" y="628"/>
                  </a:lnTo>
                  <a:lnTo>
                    <a:pt x="408" y="627"/>
                  </a:lnTo>
                  <a:lnTo>
                    <a:pt x="395" y="626"/>
                  </a:lnTo>
                  <a:lnTo>
                    <a:pt x="382" y="623"/>
                  </a:lnTo>
                  <a:lnTo>
                    <a:pt x="370" y="620"/>
                  </a:lnTo>
                  <a:lnTo>
                    <a:pt x="359" y="617"/>
                  </a:lnTo>
                  <a:lnTo>
                    <a:pt x="347" y="613"/>
                  </a:lnTo>
                  <a:lnTo>
                    <a:pt x="335" y="608"/>
                  </a:lnTo>
                  <a:lnTo>
                    <a:pt x="323" y="603"/>
                  </a:lnTo>
                  <a:lnTo>
                    <a:pt x="313" y="598"/>
                  </a:lnTo>
                  <a:lnTo>
                    <a:pt x="302" y="591"/>
                  </a:lnTo>
                  <a:lnTo>
                    <a:pt x="291" y="585"/>
                  </a:lnTo>
                  <a:lnTo>
                    <a:pt x="282" y="577"/>
                  </a:lnTo>
                  <a:lnTo>
                    <a:pt x="272" y="570"/>
                  </a:lnTo>
                  <a:lnTo>
                    <a:pt x="263" y="562"/>
                  </a:lnTo>
                  <a:lnTo>
                    <a:pt x="254" y="554"/>
                  </a:lnTo>
                  <a:lnTo>
                    <a:pt x="245" y="545"/>
                  </a:lnTo>
                  <a:lnTo>
                    <a:pt x="238" y="536"/>
                  </a:lnTo>
                  <a:lnTo>
                    <a:pt x="230" y="526"/>
                  </a:lnTo>
                  <a:lnTo>
                    <a:pt x="223" y="516"/>
                  </a:lnTo>
                  <a:lnTo>
                    <a:pt x="216" y="506"/>
                  </a:lnTo>
                  <a:lnTo>
                    <a:pt x="210" y="495"/>
                  </a:lnTo>
                  <a:lnTo>
                    <a:pt x="204" y="484"/>
                  </a:lnTo>
                  <a:lnTo>
                    <a:pt x="199" y="473"/>
                  </a:lnTo>
                  <a:lnTo>
                    <a:pt x="195" y="462"/>
                  </a:lnTo>
                  <a:lnTo>
                    <a:pt x="191" y="450"/>
                  </a:lnTo>
                  <a:lnTo>
                    <a:pt x="187" y="437"/>
                  </a:lnTo>
                  <a:lnTo>
                    <a:pt x="184" y="425"/>
                  </a:lnTo>
                  <a:lnTo>
                    <a:pt x="182" y="413"/>
                  </a:lnTo>
                  <a:lnTo>
                    <a:pt x="181" y="400"/>
                  </a:lnTo>
                  <a:lnTo>
                    <a:pt x="180" y="387"/>
                  </a:lnTo>
                  <a:lnTo>
                    <a:pt x="180" y="374"/>
                  </a:lnTo>
                  <a:lnTo>
                    <a:pt x="180" y="361"/>
                  </a:lnTo>
                  <a:lnTo>
                    <a:pt x="181" y="348"/>
                  </a:lnTo>
                  <a:lnTo>
                    <a:pt x="182" y="336"/>
                  </a:lnTo>
                  <a:lnTo>
                    <a:pt x="184" y="323"/>
                  </a:lnTo>
                  <a:lnTo>
                    <a:pt x="187" y="311"/>
                  </a:lnTo>
                  <a:lnTo>
                    <a:pt x="191" y="299"/>
                  </a:lnTo>
                  <a:lnTo>
                    <a:pt x="195" y="287"/>
                  </a:lnTo>
                  <a:lnTo>
                    <a:pt x="199" y="276"/>
                  </a:lnTo>
                  <a:lnTo>
                    <a:pt x="204" y="264"/>
                  </a:lnTo>
                  <a:lnTo>
                    <a:pt x="210" y="253"/>
                  </a:lnTo>
                  <a:lnTo>
                    <a:pt x="216" y="243"/>
                  </a:lnTo>
                  <a:lnTo>
                    <a:pt x="223" y="232"/>
                  </a:lnTo>
                  <a:lnTo>
                    <a:pt x="230" y="222"/>
                  </a:lnTo>
                  <a:lnTo>
                    <a:pt x="238" y="213"/>
                  </a:lnTo>
                  <a:lnTo>
                    <a:pt x="245" y="204"/>
                  </a:lnTo>
                  <a:lnTo>
                    <a:pt x="254" y="194"/>
                  </a:lnTo>
                  <a:lnTo>
                    <a:pt x="263" y="186"/>
                  </a:lnTo>
                  <a:lnTo>
                    <a:pt x="272" y="178"/>
                  </a:lnTo>
                  <a:lnTo>
                    <a:pt x="282" y="171"/>
                  </a:lnTo>
                  <a:lnTo>
                    <a:pt x="291" y="163"/>
                  </a:lnTo>
                  <a:lnTo>
                    <a:pt x="302" y="157"/>
                  </a:lnTo>
                  <a:lnTo>
                    <a:pt x="313" y="151"/>
                  </a:lnTo>
                  <a:lnTo>
                    <a:pt x="323" y="145"/>
                  </a:lnTo>
                  <a:lnTo>
                    <a:pt x="335" y="140"/>
                  </a:lnTo>
                  <a:lnTo>
                    <a:pt x="347" y="136"/>
                  </a:lnTo>
                  <a:lnTo>
                    <a:pt x="359" y="131"/>
                  </a:lnTo>
                  <a:lnTo>
                    <a:pt x="370" y="128"/>
                  </a:lnTo>
                  <a:lnTo>
                    <a:pt x="382" y="125"/>
                  </a:lnTo>
                  <a:lnTo>
                    <a:pt x="395" y="123"/>
                  </a:lnTo>
                  <a:lnTo>
                    <a:pt x="408" y="121"/>
                  </a:lnTo>
                  <a:lnTo>
                    <a:pt x="421" y="119"/>
                  </a:lnTo>
                  <a:lnTo>
                    <a:pt x="433" y="119"/>
                  </a:lnTo>
                  <a:lnTo>
                    <a:pt x="446" y="119"/>
                  </a:lnTo>
                  <a:lnTo>
                    <a:pt x="459" y="121"/>
                  </a:lnTo>
                  <a:lnTo>
                    <a:pt x="472" y="123"/>
                  </a:lnTo>
                  <a:lnTo>
                    <a:pt x="485" y="125"/>
                  </a:lnTo>
                  <a:lnTo>
                    <a:pt x="498" y="128"/>
                  </a:lnTo>
                  <a:lnTo>
                    <a:pt x="509" y="131"/>
                  </a:lnTo>
                  <a:lnTo>
                    <a:pt x="521" y="136"/>
                  </a:lnTo>
                  <a:lnTo>
                    <a:pt x="533" y="140"/>
                  </a:lnTo>
                  <a:lnTo>
                    <a:pt x="544" y="145"/>
                  </a:lnTo>
                  <a:lnTo>
                    <a:pt x="554" y="151"/>
                  </a:lnTo>
                  <a:lnTo>
                    <a:pt x="565" y="157"/>
                  </a:lnTo>
                  <a:lnTo>
                    <a:pt x="576" y="163"/>
                  </a:lnTo>
                  <a:lnTo>
                    <a:pt x="585" y="171"/>
                  </a:lnTo>
                  <a:lnTo>
                    <a:pt x="595" y="178"/>
                  </a:lnTo>
                  <a:lnTo>
                    <a:pt x="605" y="186"/>
                  </a:lnTo>
                  <a:lnTo>
                    <a:pt x="613" y="194"/>
                  </a:lnTo>
                  <a:lnTo>
                    <a:pt x="622" y="204"/>
                  </a:lnTo>
                  <a:lnTo>
                    <a:pt x="629" y="213"/>
                  </a:lnTo>
                  <a:lnTo>
                    <a:pt x="638" y="222"/>
                  </a:lnTo>
                  <a:lnTo>
                    <a:pt x="644" y="232"/>
                  </a:lnTo>
                  <a:lnTo>
                    <a:pt x="651" y="243"/>
                  </a:lnTo>
                  <a:lnTo>
                    <a:pt x="657" y="253"/>
                  </a:lnTo>
                  <a:lnTo>
                    <a:pt x="662" y="264"/>
                  </a:lnTo>
                  <a:lnTo>
                    <a:pt x="668" y="276"/>
                  </a:lnTo>
                  <a:lnTo>
                    <a:pt x="672" y="287"/>
                  </a:lnTo>
                  <a:lnTo>
                    <a:pt x="676" y="299"/>
                  </a:lnTo>
                  <a:lnTo>
                    <a:pt x="680" y="311"/>
                  </a:lnTo>
                  <a:lnTo>
                    <a:pt x="683" y="323"/>
                  </a:lnTo>
                  <a:lnTo>
                    <a:pt x="685" y="336"/>
                  </a:lnTo>
                  <a:lnTo>
                    <a:pt x="687" y="348"/>
                  </a:lnTo>
                  <a:lnTo>
                    <a:pt x="687" y="361"/>
                  </a:lnTo>
                  <a:lnTo>
                    <a:pt x="688" y="374"/>
                  </a:lnTo>
                  <a:lnTo>
                    <a:pt x="687" y="387"/>
                  </a:lnTo>
                  <a:lnTo>
                    <a:pt x="687" y="400"/>
                  </a:lnTo>
                  <a:lnTo>
                    <a:pt x="685" y="413"/>
                  </a:lnTo>
                  <a:lnTo>
                    <a:pt x="683" y="425"/>
                  </a:lnTo>
                  <a:lnTo>
                    <a:pt x="680" y="437"/>
                  </a:lnTo>
                  <a:lnTo>
                    <a:pt x="676" y="450"/>
                  </a:lnTo>
                  <a:lnTo>
                    <a:pt x="672" y="462"/>
                  </a:lnTo>
                  <a:lnTo>
                    <a:pt x="668" y="473"/>
                  </a:lnTo>
                  <a:lnTo>
                    <a:pt x="662" y="484"/>
                  </a:lnTo>
                  <a:lnTo>
                    <a:pt x="657" y="495"/>
                  </a:lnTo>
                  <a:lnTo>
                    <a:pt x="651" y="506"/>
                  </a:lnTo>
                  <a:lnTo>
                    <a:pt x="644" y="516"/>
                  </a:lnTo>
                  <a:lnTo>
                    <a:pt x="638" y="526"/>
                  </a:lnTo>
                  <a:lnTo>
                    <a:pt x="629" y="536"/>
                  </a:lnTo>
                  <a:lnTo>
                    <a:pt x="622" y="545"/>
                  </a:lnTo>
                  <a:lnTo>
                    <a:pt x="613" y="554"/>
                  </a:lnTo>
                  <a:lnTo>
                    <a:pt x="605" y="562"/>
                  </a:lnTo>
                  <a:lnTo>
                    <a:pt x="595" y="570"/>
                  </a:lnTo>
                  <a:lnTo>
                    <a:pt x="585" y="577"/>
                  </a:lnTo>
                  <a:lnTo>
                    <a:pt x="576" y="585"/>
                  </a:lnTo>
                  <a:lnTo>
                    <a:pt x="565" y="591"/>
                  </a:lnTo>
                  <a:lnTo>
                    <a:pt x="554" y="598"/>
                  </a:lnTo>
                  <a:lnTo>
                    <a:pt x="544" y="603"/>
                  </a:lnTo>
                  <a:lnTo>
                    <a:pt x="533" y="608"/>
                  </a:lnTo>
                  <a:lnTo>
                    <a:pt x="521" y="613"/>
                  </a:lnTo>
                  <a:lnTo>
                    <a:pt x="509" y="617"/>
                  </a:lnTo>
                  <a:lnTo>
                    <a:pt x="498" y="620"/>
                  </a:lnTo>
                  <a:lnTo>
                    <a:pt x="485" y="623"/>
                  </a:lnTo>
                  <a:lnTo>
                    <a:pt x="472" y="626"/>
                  </a:lnTo>
                  <a:lnTo>
                    <a:pt x="459" y="627"/>
                  </a:lnTo>
                  <a:lnTo>
                    <a:pt x="446" y="628"/>
                  </a:lnTo>
                  <a:lnTo>
                    <a:pt x="433" y="628"/>
                  </a:lnTo>
                  <a:close/>
                  <a:moveTo>
                    <a:pt x="184" y="643"/>
                  </a:moveTo>
                  <a:lnTo>
                    <a:pt x="181" y="643"/>
                  </a:lnTo>
                  <a:lnTo>
                    <a:pt x="178" y="642"/>
                  </a:lnTo>
                  <a:lnTo>
                    <a:pt x="175" y="639"/>
                  </a:lnTo>
                  <a:lnTo>
                    <a:pt x="171" y="637"/>
                  </a:lnTo>
                  <a:lnTo>
                    <a:pt x="169" y="634"/>
                  </a:lnTo>
                  <a:lnTo>
                    <a:pt x="167" y="631"/>
                  </a:lnTo>
                  <a:lnTo>
                    <a:pt x="166" y="628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7" y="616"/>
                  </a:lnTo>
                  <a:lnTo>
                    <a:pt x="169" y="613"/>
                  </a:lnTo>
                  <a:lnTo>
                    <a:pt x="171" y="609"/>
                  </a:lnTo>
                  <a:lnTo>
                    <a:pt x="175" y="607"/>
                  </a:lnTo>
                  <a:lnTo>
                    <a:pt x="178" y="605"/>
                  </a:lnTo>
                  <a:lnTo>
                    <a:pt x="181" y="604"/>
                  </a:lnTo>
                  <a:lnTo>
                    <a:pt x="184" y="604"/>
                  </a:lnTo>
                  <a:lnTo>
                    <a:pt x="188" y="604"/>
                  </a:lnTo>
                  <a:lnTo>
                    <a:pt x="192" y="605"/>
                  </a:lnTo>
                  <a:lnTo>
                    <a:pt x="195" y="607"/>
                  </a:lnTo>
                  <a:lnTo>
                    <a:pt x="198" y="609"/>
                  </a:lnTo>
                  <a:lnTo>
                    <a:pt x="200" y="613"/>
                  </a:lnTo>
                  <a:lnTo>
                    <a:pt x="202" y="616"/>
                  </a:lnTo>
                  <a:lnTo>
                    <a:pt x="203" y="620"/>
                  </a:lnTo>
                  <a:lnTo>
                    <a:pt x="203" y="623"/>
                  </a:lnTo>
                  <a:lnTo>
                    <a:pt x="203" y="628"/>
                  </a:lnTo>
                  <a:lnTo>
                    <a:pt x="202" y="631"/>
                  </a:lnTo>
                  <a:lnTo>
                    <a:pt x="200" y="634"/>
                  </a:lnTo>
                  <a:lnTo>
                    <a:pt x="198" y="637"/>
                  </a:lnTo>
                  <a:lnTo>
                    <a:pt x="195" y="639"/>
                  </a:lnTo>
                  <a:lnTo>
                    <a:pt x="192" y="642"/>
                  </a:lnTo>
                  <a:lnTo>
                    <a:pt x="188" y="643"/>
                  </a:lnTo>
                  <a:lnTo>
                    <a:pt x="184" y="643"/>
                  </a:lnTo>
                  <a:close/>
                  <a:moveTo>
                    <a:pt x="129" y="698"/>
                  </a:moveTo>
                  <a:lnTo>
                    <a:pt x="124" y="698"/>
                  </a:lnTo>
                  <a:lnTo>
                    <a:pt x="121" y="697"/>
                  </a:lnTo>
                  <a:lnTo>
                    <a:pt x="118" y="695"/>
                  </a:lnTo>
                  <a:lnTo>
                    <a:pt x="115" y="693"/>
                  </a:lnTo>
                  <a:lnTo>
                    <a:pt x="112" y="691"/>
                  </a:lnTo>
                  <a:lnTo>
                    <a:pt x="110" y="688"/>
                  </a:lnTo>
                  <a:lnTo>
                    <a:pt x="109" y="684"/>
                  </a:lnTo>
                  <a:lnTo>
                    <a:pt x="109" y="680"/>
                  </a:lnTo>
                  <a:lnTo>
                    <a:pt x="109" y="677"/>
                  </a:lnTo>
                  <a:lnTo>
                    <a:pt x="110" y="673"/>
                  </a:lnTo>
                  <a:lnTo>
                    <a:pt x="112" y="669"/>
                  </a:lnTo>
                  <a:lnTo>
                    <a:pt x="115" y="667"/>
                  </a:lnTo>
                  <a:lnTo>
                    <a:pt x="118" y="664"/>
                  </a:lnTo>
                  <a:lnTo>
                    <a:pt x="121" y="663"/>
                  </a:lnTo>
                  <a:lnTo>
                    <a:pt x="124" y="662"/>
                  </a:lnTo>
                  <a:lnTo>
                    <a:pt x="129" y="661"/>
                  </a:lnTo>
                  <a:lnTo>
                    <a:pt x="132" y="662"/>
                  </a:lnTo>
                  <a:lnTo>
                    <a:pt x="135" y="663"/>
                  </a:lnTo>
                  <a:lnTo>
                    <a:pt x="138" y="664"/>
                  </a:lnTo>
                  <a:lnTo>
                    <a:pt x="141" y="667"/>
                  </a:lnTo>
                  <a:lnTo>
                    <a:pt x="143" y="669"/>
                  </a:lnTo>
                  <a:lnTo>
                    <a:pt x="146" y="673"/>
                  </a:lnTo>
                  <a:lnTo>
                    <a:pt x="147" y="677"/>
                  </a:lnTo>
                  <a:lnTo>
                    <a:pt x="147" y="680"/>
                  </a:lnTo>
                  <a:lnTo>
                    <a:pt x="147" y="684"/>
                  </a:lnTo>
                  <a:lnTo>
                    <a:pt x="146" y="688"/>
                  </a:lnTo>
                  <a:lnTo>
                    <a:pt x="143" y="691"/>
                  </a:lnTo>
                  <a:lnTo>
                    <a:pt x="141" y="693"/>
                  </a:lnTo>
                  <a:lnTo>
                    <a:pt x="138" y="695"/>
                  </a:lnTo>
                  <a:lnTo>
                    <a:pt x="135" y="697"/>
                  </a:lnTo>
                  <a:lnTo>
                    <a:pt x="132" y="698"/>
                  </a:lnTo>
                  <a:lnTo>
                    <a:pt x="129" y="698"/>
                  </a:lnTo>
                  <a:close/>
                  <a:moveTo>
                    <a:pt x="530" y="108"/>
                  </a:moveTo>
                  <a:lnTo>
                    <a:pt x="507" y="100"/>
                  </a:lnTo>
                  <a:lnTo>
                    <a:pt x="484" y="95"/>
                  </a:lnTo>
                  <a:lnTo>
                    <a:pt x="471" y="93"/>
                  </a:lnTo>
                  <a:lnTo>
                    <a:pt x="459" y="91"/>
                  </a:lnTo>
                  <a:lnTo>
                    <a:pt x="446" y="91"/>
                  </a:lnTo>
                  <a:lnTo>
                    <a:pt x="433" y="90"/>
                  </a:lnTo>
                  <a:lnTo>
                    <a:pt x="420" y="91"/>
                  </a:lnTo>
                  <a:lnTo>
                    <a:pt x="405" y="92"/>
                  </a:lnTo>
                  <a:lnTo>
                    <a:pt x="391" y="93"/>
                  </a:lnTo>
                  <a:lnTo>
                    <a:pt x="377" y="96"/>
                  </a:lnTo>
                  <a:lnTo>
                    <a:pt x="363" y="99"/>
                  </a:lnTo>
                  <a:lnTo>
                    <a:pt x="349" y="102"/>
                  </a:lnTo>
                  <a:lnTo>
                    <a:pt x="336" y="107"/>
                  </a:lnTo>
                  <a:lnTo>
                    <a:pt x="323" y="112"/>
                  </a:lnTo>
                  <a:lnTo>
                    <a:pt x="310" y="118"/>
                  </a:lnTo>
                  <a:lnTo>
                    <a:pt x="299" y="125"/>
                  </a:lnTo>
                  <a:lnTo>
                    <a:pt x="287" y="131"/>
                  </a:lnTo>
                  <a:lnTo>
                    <a:pt x="275" y="139"/>
                  </a:lnTo>
                  <a:lnTo>
                    <a:pt x="263" y="146"/>
                  </a:lnTo>
                  <a:lnTo>
                    <a:pt x="253" y="155"/>
                  </a:lnTo>
                  <a:lnTo>
                    <a:pt x="243" y="164"/>
                  </a:lnTo>
                  <a:lnTo>
                    <a:pt x="233" y="173"/>
                  </a:lnTo>
                  <a:lnTo>
                    <a:pt x="224" y="184"/>
                  </a:lnTo>
                  <a:lnTo>
                    <a:pt x="214" y="193"/>
                  </a:lnTo>
                  <a:lnTo>
                    <a:pt x="206" y="204"/>
                  </a:lnTo>
                  <a:lnTo>
                    <a:pt x="198" y="216"/>
                  </a:lnTo>
                  <a:lnTo>
                    <a:pt x="191" y="228"/>
                  </a:lnTo>
                  <a:lnTo>
                    <a:pt x="184" y="239"/>
                  </a:lnTo>
                  <a:lnTo>
                    <a:pt x="178" y="251"/>
                  </a:lnTo>
                  <a:lnTo>
                    <a:pt x="172" y="264"/>
                  </a:lnTo>
                  <a:lnTo>
                    <a:pt x="167" y="277"/>
                  </a:lnTo>
                  <a:lnTo>
                    <a:pt x="163" y="290"/>
                  </a:lnTo>
                  <a:lnTo>
                    <a:pt x="158" y="303"/>
                  </a:lnTo>
                  <a:lnTo>
                    <a:pt x="155" y="317"/>
                  </a:lnTo>
                  <a:lnTo>
                    <a:pt x="153" y="331"/>
                  </a:lnTo>
                  <a:lnTo>
                    <a:pt x="151" y="345"/>
                  </a:lnTo>
                  <a:lnTo>
                    <a:pt x="150" y="359"/>
                  </a:lnTo>
                  <a:lnTo>
                    <a:pt x="150" y="374"/>
                  </a:lnTo>
                  <a:lnTo>
                    <a:pt x="150" y="387"/>
                  </a:lnTo>
                  <a:lnTo>
                    <a:pt x="151" y="400"/>
                  </a:lnTo>
                  <a:lnTo>
                    <a:pt x="152" y="412"/>
                  </a:lnTo>
                  <a:lnTo>
                    <a:pt x="154" y="424"/>
                  </a:lnTo>
                  <a:lnTo>
                    <a:pt x="160" y="448"/>
                  </a:lnTo>
                  <a:lnTo>
                    <a:pt x="167" y="471"/>
                  </a:lnTo>
                  <a:lnTo>
                    <a:pt x="4" y="631"/>
                  </a:lnTo>
                  <a:lnTo>
                    <a:pt x="2" y="634"/>
                  </a:lnTo>
                  <a:lnTo>
                    <a:pt x="1" y="636"/>
                  </a:lnTo>
                  <a:lnTo>
                    <a:pt x="0" y="639"/>
                  </a:lnTo>
                  <a:lnTo>
                    <a:pt x="0" y="643"/>
                  </a:lnTo>
                  <a:lnTo>
                    <a:pt x="0" y="792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2" y="801"/>
                  </a:lnTo>
                  <a:lnTo>
                    <a:pt x="4" y="803"/>
                  </a:lnTo>
                  <a:lnTo>
                    <a:pt x="7" y="805"/>
                  </a:lnTo>
                  <a:lnTo>
                    <a:pt x="9" y="806"/>
                  </a:lnTo>
                  <a:lnTo>
                    <a:pt x="12" y="807"/>
                  </a:lnTo>
                  <a:lnTo>
                    <a:pt x="15" y="807"/>
                  </a:lnTo>
                  <a:lnTo>
                    <a:pt x="166" y="807"/>
                  </a:lnTo>
                  <a:lnTo>
                    <a:pt x="169" y="807"/>
                  </a:lnTo>
                  <a:lnTo>
                    <a:pt x="171" y="806"/>
                  </a:lnTo>
                  <a:lnTo>
                    <a:pt x="175" y="805"/>
                  </a:lnTo>
                  <a:lnTo>
                    <a:pt x="177" y="803"/>
                  </a:lnTo>
                  <a:lnTo>
                    <a:pt x="337" y="642"/>
                  </a:lnTo>
                  <a:lnTo>
                    <a:pt x="361" y="648"/>
                  </a:lnTo>
                  <a:lnTo>
                    <a:pt x="384" y="653"/>
                  </a:lnTo>
                  <a:lnTo>
                    <a:pt x="396" y="655"/>
                  </a:lnTo>
                  <a:lnTo>
                    <a:pt x="409" y="657"/>
                  </a:lnTo>
                  <a:lnTo>
                    <a:pt x="421" y="658"/>
                  </a:lnTo>
                  <a:lnTo>
                    <a:pt x="433" y="658"/>
                  </a:lnTo>
                  <a:lnTo>
                    <a:pt x="448" y="658"/>
                  </a:lnTo>
                  <a:lnTo>
                    <a:pt x="462" y="657"/>
                  </a:lnTo>
                  <a:lnTo>
                    <a:pt x="477" y="654"/>
                  </a:lnTo>
                  <a:lnTo>
                    <a:pt x="491" y="652"/>
                  </a:lnTo>
                  <a:lnTo>
                    <a:pt x="504" y="649"/>
                  </a:lnTo>
                  <a:lnTo>
                    <a:pt x="518" y="645"/>
                  </a:lnTo>
                  <a:lnTo>
                    <a:pt x="531" y="640"/>
                  </a:lnTo>
                  <a:lnTo>
                    <a:pt x="544" y="635"/>
                  </a:lnTo>
                  <a:lnTo>
                    <a:pt x="557" y="630"/>
                  </a:lnTo>
                  <a:lnTo>
                    <a:pt x="569" y="623"/>
                  </a:lnTo>
                  <a:lnTo>
                    <a:pt x="581" y="617"/>
                  </a:lnTo>
                  <a:lnTo>
                    <a:pt x="593" y="609"/>
                  </a:lnTo>
                  <a:lnTo>
                    <a:pt x="604" y="602"/>
                  </a:lnTo>
                  <a:lnTo>
                    <a:pt x="614" y="593"/>
                  </a:lnTo>
                  <a:lnTo>
                    <a:pt x="625" y="584"/>
                  </a:lnTo>
                  <a:lnTo>
                    <a:pt x="635" y="575"/>
                  </a:lnTo>
                  <a:lnTo>
                    <a:pt x="644" y="565"/>
                  </a:lnTo>
                  <a:lnTo>
                    <a:pt x="653" y="555"/>
                  </a:lnTo>
                  <a:lnTo>
                    <a:pt x="661" y="544"/>
                  </a:lnTo>
                  <a:lnTo>
                    <a:pt x="669" y="532"/>
                  </a:lnTo>
                  <a:lnTo>
                    <a:pt x="676" y="522"/>
                  </a:lnTo>
                  <a:lnTo>
                    <a:pt x="684" y="509"/>
                  </a:lnTo>
                  <a:lnTo>
                    <a:pt x="690" y="497"/>
                  </a:lnTo>
                  <a:lnTo>
                    <a:pt x="696" y="484"/>
                  </a:lnTo>
                  <a:lnTo>
                    <a:pt x="701" y="471"/>
                  </a:lnTo>
                  <a:lnTo>
                    <a:pt x="705" y="459"/>
                  </a:lnTo>
                  <a:lnTo>
                    <a:pt x="708" y="445"/>
                  </a:lnTo>
                  <a:lnTo>
                    <a:pt x="712" y="431"/>
                  </a:lnTo>
                  <a:lnTo>
                    <a:pt x="715" y="417"/>
                  </a:lnTo>
                  <a:lnTo>
                    <a:pt x="716" y="403"/>
                  </a:lnTo>
                  <a:lnTo>
                    <a:pt x="717" y="388"/>
                  </a:lnTo>
                  <a:lnTo>
                    <a:pt x="718" y="374"/>
                  </a:lnTo>
                  <a:lnTo>
                    <a:pt x="717" y="361"/>
                  </a:lnTo>
                  <a:lnTo>
                    <a:pt x="717" y="350"/>
                  </a:lnTo>
                  <a:lnTo>
                    <a:pt x="715" y="337"/>
                  </a:lnTo>
                  <a:lnTo>
                    <a:pt x="714" y="325"/>
                  </a:lnTo>
                  <a:lnTo>
                    <a:pt x="708" y="301"/>
                  </a:lnTo>
                  <a:lnTo>
                    <a:pt x="701" y="278"/>
                  </a:lnTo>
                  <a:lnTo>
                    <a:pt x="804" y="175"/>
                  </a:lnTo>
                  <a:lnTo>
                    <a:pt x="808" y="172"/>
                  </a:lnTo>
                  <a:lnTo>
                    <a:pt x="637" y="0"/>
                  </a:lnTo>
                  <a:lnTo>
                    <a:pt x="530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53"/>
            <p:cNvSpPr>
              <a:spLocks/>
            </p:cNvSpPr>
            <p:nvPr/>
          </p:nvSpPr>
          <p:spPr bwMode="auto">
            <a:xfrm>
              <a:off x="3884860" y="4317117"/>
              <a:ext cx="44450" cy="74613"/>
            </a:xfrm>
            <a:custGeom>
              <a:avLst/>
              <a:gdLst>
                <a:gd name="T0" fmla="*/ 30 w 140"/>
                <a:gd name="T1" fmla="*/ 103 h 238"/>
                <a:gd name="T2" fmla="*/ 30 w 140"/>
                <a:gd name="T3" fmla="*/ 15 h 238"/>
                <a:gd name="T4" fmla="*/ 30 w 140"/>
                <a:gd name="T5" fmla="*/ 12 h 238"/>
                <a:gd name="T6" fmla="*/ 29 w 140"/>
                <a:gd name="T7" fmla="*/ 9 h 238"/>
                <a:gd name="T8" fmla="*/ 28 w 140"/>
                <a:gd name="T9" fmla="*/ 7 h 238"/>
                <a:gd name="T10" fmla="*/ 26 w 140"/>
                <a:gd name="T11" fmla="*/ 5 h 238"/>
                <a:gd name="T12" fmla="*/ 24 w 140"/>
                <a:gd name="T13" fmla="*/ 2 h 238"/>
                <a:gd name="T14" fmla="*/ 22 w 140"/>
                <a:gd name="T15" fmla="*/ 1 h 238"/>
                <a:gd name="T16" fmla="*/ 19 w 140"/>
                <a:gd name="T17" fmla="*/ 0 h 238"/>
                <a:gd name="T18" fmla="*/ 15 w 140"/>
                <a:gd name="T19" fmla="*/ 0 h 238"/>
                <a:gd name="T20" fmla="*/ 12 w 140"/>
                <a:gd name="T21" fmla="*/ 0 h 238"/>
                <a:gd name="T22" fmla="*/ 10 w 140"/>
                <a:gd name="T23" fmla="*/ 1 h 238"/>
                <a:gd name="T24" fmla="*/ 7 w 140"/>
                <a:gd name="T25" fmla="*/ 2 h 238"/>
                <a:gd name="T26" fmla="*/ 5 w 140"/>
                <a:gd name="T27" fmla="*/ 5 h 238"/>
                <a:gd name="T28" fmla="*/ 4 w 140"/>
                <a:gd name="T29" fmla="*/ 7 h 238"/>
                <a:gd name="T30" fmla="*/ 2 w 140"/>
                <a:gd name="T31" fmla="*/ 9 h 238"/>
                <a:gd name="T32" fmla="*/ 2 w 140"/>
                <a:gd name="T33" fmla="*/ 12 h 238"/>
                <a:gd name="T34" fmla="*/ 0 w 140"/>
                <a:gd name="T35" fmla="*/ 15 h 238"/>
                <a:gd name="T36" fmla="*/ 0 w 140"/>
                <a:gd name="T37" fmla="*/ 109 h 238"/>
                <a:gd name="T38" fmla="*/ 0 w 140"/>
                <a:gd name="T39" fmla="*/ 113 h 238"/>
                <a:gd name="T40" fmla="*/ 2 w 140"/>
                <a:gd name="T41" fmla="*/ 115 h 238"/>
                <a:gd name="T42" fmla="*/ 3 w 140"/>
                <a:gd name="T43" fmla="*/ 118 h 238"/>
                <a:gd name="T44" fmla="*/ 5 w 140"/>
                <a:gd name="T45" fmla="*/ 120 h 238"/>
                <a:gd name="T46" fmla="*/ 114 w 140"/>
                <a:gd name="T47" fmla="*/ 233 h 238"/>
                <a:gd name="T48" fmla="*/ 116 w 140"/>
                <a:gd name="T49" fmla="*/ 236 h 238"/>
                <a:gd name="T50" fmla="*/ 119 w 140"/>
                <a:gd name="T51" fmla="*/ 237 h 238"/>
                <a:gd name="T52" fmla="*/ 122 w 140"/>
                <a:gd name="T53" fmla="*/ 238 h 238"/>
                <a:gd name="T54" fmla="*/ 125 w 140"/>
                <a:gd name="T55" fmla="*/ 238 h 238"/>
                <a:gd name="T56" fmla="*/ 128 w 140"/>
                <a:gd name="T57" fmla="*/ 238 h 238"/>
                <a:gd name="T58" fmla="*/ 130 w 140"/>
                <a:gd name="T59" fmla="*/ 237 h 238"/>
                <a:gd name="T60" fmla="*/ 133 w 140"/>
                <a:gd name="T61" fmla="*/ 236 h 238"/>
                <a:gd name="T62" fmla="*/ 135 w 140"/>
                <a:gd name="T63" fmla="*/ 233 h 238"/>
                <a:gd name="T64" fmla="*/ 137 w 140"/>
                <a:gd name="T65" fmla="*/ 231 h 238"/>
                <a:gd name="T66" fmla="*/ 139 w 140"/>
                <a:gd name="T67" fmla="*/ 228 h 238"/>
                <a:gd name="T68" fmla="*/ 140 w 140"/>
                <a:gd name="T69" fmla="*/ 226 h 238"/>
                <a:gd name="T70" fmla="*/ 140 w 140"/>
                <a:gd name="T71" fmla="*/ 223 h 238"/>
                <a:gd name="T72" fmla="*/ 140 w 140"/>
                <a:gd name="T73" fmla="*/ 221 h 238"/>
                <a:gd name="T74" fmla="*/ 139 w 140"/>
                <a:gd name="T75" fmla="*/ 217 h 238"/>
                <a:gd name="T76" fmla="*/ 137 w 140"/>
                <a:gd name="T77" fmla="*/ 215 h 238"/>
                <a:gd name="T78" fmla="*/ 135 w 140"/>
                <a:gd name="T79" fmla="*/ 212 h 238"/>
                <a:gd name="T80" fmla="*/ 30 w 140"/>
                <a:gd name="T81" fmla="*/ 10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0" h="238">
                  <a:moveTo>
                    <a:pt x="30" y="103"/>
                  </a:move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5"/>
                  </a:lnTo>
                  <a:lnTo>
                    <a:pt x="3" y="118"/>
                  </a:lnTo>
                  <a:lnTo>
                    <a:pt x="5" y="120"/>
                  </a:lnTo>
                  <a:lnTo>
                    <a:pt x="114" y="233"/>
                  </a:lnTo>
                  <a:lnTo>
                    <a:pt x="116" y="236"/>
                  </a:lnTo>
                  <a:lnTo>
                    <a:pt x="119" y="237"/>
                  </a:lnTo>
                  <a:lnTo>
                    <a:pt x="122" y="238"/>
                  </a:lnTo>
                  <a:lnTo>
                    <a:pt x="125" y="238"/>
                  </a:lnTo>
                  <a:lnTo>
                    <a:pt x="128" y="238"/>
                  </a:lnTo>
                  <a:lnTo>
                    <a:pt x="130" y="237"/>
                  </a:lnTo>
                  <a:lnTo>
                    <a:pt x="133" y="236"/>
                  </a:lnTo>
                  <a:lnTo>
                    <a:pt x="135" y="233"/>
                  </a:lnTo>
                  <a:lnTo>
                    <a:pt x="137" y="231"/>
                  </a:lnTo>
                  <a:lnTo>
                    <a:pt x="139" y="228"/>
                  </a:lnTo>
                  <a:lnTo>
                    <a:pt x="140" y="226"/>
                  </a:lnTo>
                  <a:lnTo>
                    <a:pt x="140" y="223"/>
                  </a:lnTo>
                  <a:lnTo>
                    <a:pt x="140" y="221"/>
                  </a:lnTo>
                  <a:lnTo>
                    <a:pt x="139" y="217"/>
                  </a:lnTo>
                  <a:lnTo>
                    <a:pt x="137" y="215"/>
                  </a:lnTo>
                  <a:lnTo>
                    <a:pt x="135" y="212"/>
                  </a:lnTo>
                  <a:lnTo>
                    <a:pt x="3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818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33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TIMELINE PLANNING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24992" y="2357249"/>
            <a:ext cx="10509959" cy="2211482"/>
            <a:chOff x="824992" y="2357249"/>
            <a:chExt cx="10509959" cy="2211482"/>
          </a:xfrm>
          <a:solidFill>
            <a:schemeClr val="bg1">
              <a:lumMod val="95000"/>
            </a:schemeClr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3" name="Freeform 5"/>
            <p:cNvSpPr>
              <a:spLocks/>
            </p:cNvSpPr>
            <p:nvPr/>
          </p:nvSpPr>
          <p:spPr bwMode="auto">
            <a:xfrm>
              <a:off x="7753422" y="2357249"/>
              <a:ext cx="1844943" cy="1436945"/>
            </a:xfrm>
            <a:custGeom>
              <a:avLst/>
              <a:gdLst>
                <a:gd name="T0" fmla="*/ 0 w 828"/>
                <a:gd name="T1" fmla="*/ 296 h 644"/>
                <a:gd name="T2" fmla="*/ 111 w 828"/>
                <a:gd name="T3" fmla="*/ 328 h 644"/>
                <a:gd name="T4" fmla="*/ 111 w 828"/>
                <a:gd name="T5" fmla="*/ 453 h 644"/>
                <a:gd name="T6" fmla="*/ 691 w 828"/>
                <a:gd name="T7" fmla="*/ 644 h 644"/>
                <a:gd name="T8" fmla="*/ 828 w 828"/>
                <a:gd name="T9" fmla="*/ 618 h 644"/>
                <a:gd name="T10" fmla="*/ 824 w 828"/>
                <a:gd name="T11" fmla="*/ 490 h 644"/>
                <a:gd name="T12" fmla="*/ 0 w 828"/>
                <a:gd name="T13" fmla="*/ 29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8" h="644">
                  <a:moveTo>
                    <a:pt x="0" y="296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111" y="453"/>
                    <a:pt x="111" y="453"/>
                    <a:pt x="111" y="453"/>
                  </a:cubicBezTo>
                  <a:cubicBezTo>
                    <a:pt x="111" y="453"/>
                    <a:pt x="423" y="249"/>
                    <a:pt x="691" y="644"/>
                  </a:cubicBezTo>
                  <a:cubicBezTo>
                    <a:pt x="828" y="618"/>
                    <a:pt x="828" y="618"/>
                    <a:pt x="828" y="618"/>
                  </a:cubicBezTo>
                  <a:cubicBezTo>
                    <a:pt x="824" y="490"/>
                    <a:pt x="824" y="490"/>
                    <a:pt x="824" y="490"/>
                  </a:cubicBezTo>
                  <a:cubicBezTo>
                    <a:pt x="824" y="490"/>
                    <a:pt x="492" y="0"/>
                    <a:pt x="0" y="296"/>
                  </a:cubicBezTo>
                  <a:close/>
                </a:path>
              </a:pathLst>
            </a:cu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"/>
            <p:cNvSpPr>
              <a:spLocks/>
            </p:cNvSpPr>
            <p:nvPr/>
          </p:nvSpPr>
          <p:spPr bwMode="auto">
            <a:xfrm>
              <a:off x="9490950" y="3131786"/>
              <a:ext cx="1844001" cy="1436945"/>
            </a:xfrm>
            <a:custGeom>
              <a:avLst/>
              <a:gdLst>
                <a:gd name="T0" fmla="*/ 0 w 828"/>
                <a:gd name="T1" fmla="*/ 346 h 644"/>
                <a:gd name="T2" fmla="*/ 111 w 828"/>
                <a:gd name="T3" fmla="*/ 314 h 644"/>
                <a:gd name="T4" fmla="*/ 112 w 828"/>
                <a:gd name="T5" fmla="*/ 190 h 644"/>
                <a:gd name="T6" fmla="*/ 692 w 828"/>
                <a:gd name="T7" fmla="*/ 0 h 644"/>
                <a:gd name="T8" fmla="*/ 828 w 828"/>
                <a:gd name="T9" fmla="*/ 27 h 644"/>
                <a:gd name="T10" fmla="*/ 825 w 828"/>
                <a:gd name="T11" fmla="*/ 156 h 644"/>
                <a:gd name="T12" fmla="*/ 0 w 828"/>
                <a:gd name="T13" fmla="*/ 34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8" h="644">
                  <a:moveTo>
                    <a:pt x="0" y="346"/>
                  </a:moveTo>
                  <a:cubicBezTo>
                    <a:pt x="111" y="314"/>
                    <a:pt x="111" y="314"/>
                    <a:pt x="111" y="314"/>
                  </a:cubicBezTo>
                  <a:cubicBezTo>
                    <a:pt x="112" y="190"/>
                    <a:pt x="112" y="190"/>
                    <a:pt x="112" y="190"/>
                  </a:cubicBezTo>
                  <a:cubicBezTo>
                    <a:pt x="112" y="190"/>
                    <a:pt x="423" y="394"/>
                    <a:pt x="692" y="0"/>
                  </a:cubicBezTo>
                  <a:cubicBezTo>
                    <a:pt x="828" y="27"/>
                    <a:pt x="828" y="27"/>
                    <a:pt x="828" y="27"/>
                  </a:cubicBezTo>
                  <a:cubicBezTo>
                    <a:pt x="825" y="156"/>
                    <a:pt x="825" y="156"/>
                    <a:pt x="825" y="156"/>
                  </a:cubicBezTo>
                  <a:cubicBezTo>
                    <a:pt x="825" y="156"/>
                    <a:pt x="491" y="644"/>
                    <a:pt x="0" y="346"/>
                  </a:cubicBezTo>
                  <a:close/>
                </a:path>
              </a:pathLst>
            </a:cu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/>
            <p:cNvSpPr>
              <a:spLocks/>
            </p:cNvSpPr>
            <p:nvPr/>
          </p:nvSpPr>
          <p:spPr bwMode="auto">
            <a:xfrm>
              <a:off x="824992" y="2357249"/>
              <a:ext cx="1842116" cy="1436945"/>
            </a:xfrm>
            <a:custGeom>
              <a:avLst/>
              <a:gdLst>
                <a:gd name="T0" fmla="*/ 0 w 827"/>
                <a:gd name="T1" fmla="*/ 296 h 644"/>
                <a:gd name="T2" fmla="*/ 111 w 827"/>
                <a:gd name="T3" fmla="*/ 328 h 644"/>
                <a:gd name="T4" fmla="*/ 111 w 827"/>
                <a:gd name="T5" fmla="*/ 453 h 644"/>
                <a:gd name="T6" fmla="*/ 691 w 827"/>
                <a:gd name="T7" fmla="*/ 644 h 644"/>
                <a:gd name="T8" fmla="*/ 827 w 827"/>
                <a:gd name="T9" fmla="*/ 618 h 644"/>
                <a:gd name="T10" fmla="*/ 824 w 827"/>
                <a:gd name="T11" fmla="*/ 490 h 644"/>
                <a:gd name="T12" fmla="*/ 0 w 827"/>
                <a:gd name="T13" fmla="*/ 29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644">
                  <a:moveTo>
                    <a:pt x="0" y="296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111" y="453"/>
                    <a:pt x="111" y="453"/>
                    <a:pt x="111" y="453"/>
                  </a:cubicBezTo>
                  <a:cubicBezTo>
                    <a:pt x="111" y="453"/>
                    <a:pt x="423" y="249"/>
                    <a:pt x="691" y="644"/>
                  </a:cubicBezTo>
                  <a:cubicBezTo>
                    <a:pt x="827" y="618"/>
                    <a:pt x="827" y="618"/>
                    <a:pt x="827" y="618"/>
                  </a:cubicBezTo>
                  <a:cubicBezTo>
                    <a:pt x="824" y="490"/>
                    <a:pt x="824" y="490"/>
                    <a:pt x="824" y="490"/>
                  </a:cubicBezTo>
                  <a:cubicBezTo>
                    <a:pt x="824" y="490"/>
                    <a:pt x="492" y="0"/>
                    <a:pt x="0" y="296"/>
                  </a:cubicBezTo>
                  <a:close/>
                </a:path>
              </a:pathLst>
            </a:cu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auto">
            <a:xfrm>
              <a:off x="2559690" y="3131786"/>
              <a:ext cx="1846827" cy="1436945"/>
            </a:xfrm>
            <a:custGeom>
              <a:avLst/>
              <a:gdLst>
                <a:gd name="T0" fmla="*/ 0 w 829"/>
                <a:gd name="T1" fmla="*/ 346 h 644"/>
                <a:gd name="T2" fmla="*/ 112 w 829"/>
                <a:gd name="T3" fmla="*/ 314 h 644"/>
                <a:gd name="T4" fmla="*/ 112 w 829"/>
                <a:gd name="T5" fmla="*/ 190 h 644"/>
                <a:gd name="T6" fmla="*/ 693 w 829"/>
                <a:gd name="T7" fmla="*/ 0 h 644"/>
                <a:gd name="T8" fmla="*/ 829 w 829"/>
                <a:gd name="T9" fmla="*/ 27 h 644"/>
                <a:gd name="T10" fmla="*/ 825 w 829"/>
                <a:gd name="T11" fmla="*/ 156 h 644"/>
                <a:gd name="T12" fmla="*/ 0 w 829"/>
                <a:gd name="T13" fmla="*/ 34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644">
                  <a:moveTo>
                    <a:pt x="0" y="346"/>
                  </a:moveTo>
                  <a:cubicBezTo>
                    <a:pt x="112" y="314"/>
                    <a:pt x="112" y="314"/>
                    <a:pt x="112" y="314"/>
                  </a:cubicBezTo>
                  <a:cubicBezTo>
                    <a:pt x="112" y="190"/>
                    <a:pt x="112" y="190"/>
                    <a:pt x="112" y="190"/>
                  </a:cubicBezTo>
                  <a:cubicBezTo>
                    <a:pt x="112" y="190"/>
                    <a:pt x="423" y="394"/>
                    <a:pt x="693" y="0"/>
                  </a:cubicBezTo>
                  <a:cubicBezTo>
                    <a:pt x="829" y="27"/>
                    <a:pt x="829" y="27"/>
                    <a:pt x="829" y="27"/>
                  </a:cubicBezTo>
                  <a:cubicBezTo>
                    <a:pt x="825" y="156"/>
                    <a:pt x="825" y="156"/>
                    <a:pt x="825" y="156"/>
                  </a:cubicBezTo>
                  <a:cubicBezTo>
                    <a:pt x="825" y="156"/>
                    <a:pt x="491" y="644"/>
                    <a:pt x="0" y="346"/>
                  </a:cubicBezTo>
                  <a:close/>
                </a:path>
              </a:pathLst>
            </a:cu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auto">
            <a:xfrm>
              <a:off x="4301932" y="2357249"/>
              <a:ext cx="1841174" cy="1436945"/>
            </a:xfrm>
            <a:custGeom>
              <a:avLst/>
              <a:gdLst>
                <a:gd name="T0" fmla="*/ 0 w 827"/>
                <a:gd name="T1" fmla="*/ 296 h 644"/>
                <a:gd name="T2" fmla="*/ 111 w 827"/>
                <a:gd name="T3" fmla="*/ 328 h 644"/>
                <a:gd name="T4" fmla="*/ 111 w 827"/>
                <a:gd name="T5" fmla="*/ 453 h 644"/>
                <a:gd name="T6" fmla="*/ 691 w 827"/>
                <a:gd name="T7" fmla="*/ 644 h 644"/>
                <a:gd name="T8" fmla="*/ 827 w 827"/>
                <a:gd name="T9" fmla="*/ 618 h 644"/>
                <a:gd name="T10" fmla="*/ 824 w 827"/>
                <a:gd name="T11" fmla="*/ 490 h 644"/>
                <a:gd name="T12" fmla="*/ 0 w 827"/>
                <a:gd name="T13" fmla="*/ 29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644">
                  <a:moveTo>
                    <a:pt x="0" y="296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111" y="453"/>
                    <a:pt x="111" y="453"/>
                    <a:pt x="111" y="453"/>
                  </a:cubicBezTo>
                  <a:cubicBezTo>
                    <a:pt x="111" y="453"/>
                    <a:pt x="423" y="249"/>
                    <a:pt x="691" y="644"/>
                  </a:cubicBezTo>
                  <a:cubicBezTo>
                    <a:pt x="827" y="618"/>
                    <a:pt x="827" y="618"/>
                    <a:pt x="827" y="618"/>
                  </a:cubicBezTo>
                  <a:cubicBezTo>
                    <a:pt x="824" y="490"/>
                    <a:pt x="824" y="490"/>
                    <a:pt x="824" y="490"/>
                  </a:cubicBezTo>
                  <a:cubicBezTo>
                    <a:pt x="824" y="490"/>
                    <a:pt x="492" y="0"/>
                    <a:pt x="0" y="296"/>
                  </a:cubicBezTo>
                  <a:close/>
                </a:path>
              </a:pathLst>
            </a:cu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0"/>
            <p:cNvSpPr>
              <a:spLocks/>
            </p:cNvSpPr>
            <p:nvPr/>
          </p:nvSpPr>
          <p:spPr bwMode="auto">
            <a:xfrm>
              <a:off x="6036626" y="3131786"/>
              <a:ext cx="1846827" cy="1436945"/>
            </a:xfrm>
            <a:custGeom>
              <a:avLst/>
              <a:gdLst>
                <a:gd name="T0" fmla="*/ 0 w 829"/>
                <a:gd name="T1" fmla="*/ 346 h 644"/>
                <a:gd name="T2" fmla="*/ 112 w 829"/>
                <a:gd name="T3" fmla="*/ 314 h 644"/>
                <a:gd name="T4" fmla="*/ 112 w 829"/>
                <a:gd name="T5" fmla="*/ 190 h 644"/>
                <a:gd name="T6" fmla="*/ 693 w 829"/>
                <a:gd name="T7" fmla="*/ 0 h 644"/>
                <a:gd name="T8" fmla="*/ 829 w 829"/>
                <a:gd name="T9" fmla="*/ 27 h 644"/>
                <a:gd name="T10" fmla="*/ 825 w 829"/>
                <a:gd name="T11" fmla="*/ 156 h 644"/>
                <a:gd name="T12" fmla="*/ 0 w 829"/>
                <a:gd name="T13" fmla="*/ 34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644">
                  <a:moveTo>
                    <a:pt x="0" y="346"/>
                  </a:moveTo>
                  <a:cubicBezTo>
                    <a:pt x="112" y="314"/>
                    <a:pt x="112" y="314"/>
                    <a:pt x="112" y="314"/>
                  </a:cubicBezTo>
                  <a:cubicBezTo>
                    <a:pt x="112" y="190"/>
                    <a:pt x="112" y="190"/>
                    <a:pt x="112" y="190"/>
                  </a:cubicBezTo>
                  <a:cubicBezTo>
                    <a:pt x="112" y="190"/>
                    <a:pt x="423" y="394"/>
                    <a:pt x="693" y="0"/>
                  </a:cubicBezTo>
                  <a:cubicBezTo>
                    <a:pt x="829" y="27"/>
                    <a:pt x="829" y="27"/>
                    <a:pt x="829" y="27"/>
                  </a:cubicBezTo>
                  <a:cubicBezTo>
                    <a:pt x="825" y="156"/>
                    <a:pt x="825" y="156"/>
                    <a:pt x="825" y="156"/>
                  </a:cubicBezTo>
                  <a:cubicBezTo>
                    <a:pt x="825" y="156"/>
                    <a:pt x="491" y="644"/>
                    <a:pt x="0" y="346"/>
                  </a:cubicBezTo>
                  <a:close/>
                </a:path>
              </a:pathLst>
            </a:cu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9" name="Oval 12"/>
          <p:cNvSpPr>
            <a:spLocks noChangeArrowheads="1"/>
          </p:cNvSpPr>
          <p:nvPr/>
        </p:nvSpPr>
        <p:spPr bwMode="auto">
          <a:xfrm>
            <a:off x="893781" y="3503978"/>
            <a:ext cx="1174055" cy="1175939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11"/>
          <p:cNvSpPr>
            <a:spLocks noChangeArrowheads="1"/>
          </p:cNvSpPr>
          <p:nvPr/>
        </p:nvSpPr>
        <p:spPr bwMode="auto">
          <a:xfrm>
            <a:off x="1009679" y="3619872"/>
            <a:ext cx="942259" cy="944144"/>
          </a:xfrm>
          <a:prstGeom prst="ellipse">
            <a:avLst/>
          </a:prstGeom>
          <a:solidFill>
            <a:srgbClr val="016AA3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14"/>
          <p:cNvSpPr>
            <a:spLocks noChangeArrowheads="1"/>
          </p:cNvSpPr>
          <p:nvPr/>
        </p:nvSpPr>
        <p:spPr bwMode="auto">
          <a:xfrm>
            <a:off x="2675592" y="2218737"/>
            <a:ext cx="1171228" cy="1174055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Oval 13"/>
          <p:cNvSpPr>
            <a:spLocks noChangeArrowheads="1"/>
          </p:cNvSpPr>
          <p:nvPr/>
        </p:nvSpPr>
        <p:spPr bwMode="auto">
          <a:xfrm>
            <a:off x="2789601" y="2332746"/>
            <a:ext cx="941317" cy="946028"/>
          </a:xfrm>
          <a:prstGeom prst="ellipse">
            <a:avLst/>
          </a:prstGeom>
          <a:solidFill>
            <a:srgbClr val="46B688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16"/>
          <p:cNvSpPr>
            <a:spLocks noChangeArrowheads="1"/>
          </p:cNvSpPr>
          <p:nvPr/>
        </p:nvSpPr>
        <p:spPr bwMode="auto">
          <a:xfrm>
            <a:off x="4350929" y="3503978"/>
            <a:ext cx="1171228" cy="1175939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Oval 15"/>
          <p:cNvSpPr>
            <a:spLocks noChangeArrowheads="1"/>
          </p:cNvSpPr>
          <p:nvPr/>
        </p:nvSpPr>
        <p:spPr bwMode="auto">
          <a:xfrm>
            <a:off x="4464000" y="3619872"/>
            <a:ext cx="942259" cy="944144"/>
          </a:xfrm>
          <a:prstGeom prst="ellipse">
            <a:avLst/>
          </a:prstGeom>
          <a:solidFill>
            <a:srgbClr val="FEA34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Oval 18"/>
          <p:cNvSpPr>
            <a:spLocks noChangeArrowheads="1"/>
          </p:cNvSpPr>
          <p:nvPr/>
        </p:nvSpPr>
        <p:spPr bwMode="auto">
          <a:xfrm>
            <a:off x="6143105" y="2218737"/>
            <a:ext cx="1174055" cy="1174055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Oval 17"/>
          <p:cNvSpPr>
            <a:spLocks noChangeArrowheads="1"/>
          </p:cNvSpPr>
          <p:nvPr/>
        </p:nvSpPr>
        <p:spPr bwMode="auto">
          <a:xfrm>
            <a:off x="6259003" y="2332746"/>
            <a:ext cx="942259" cy="946028"/>
          </a:xfrm>
          <a:prstGeom prst="ellipse">
            <a:avLst/>
          </a:prstGeom>
          <a:solidFill>
            <a:srgbClr val="016AA3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Oval 20"/>
          <p:cNvSpPr>
            <a:spLocks noChangeArrowheads="1"/>
          </p:cNvSpPr>
          <p:nvPr/>
        </p:nvSpPr>
        <p:spPr bwMode="auto">
          <a:xfrm>
            <a:off x="7820325" y="3503978"/>
            <a:ext cx="1174055" cy="1175939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Oval 19"/>
          <p:cNvSpPr>
            <a:spLocks noChangeArrowheads="1"/>
          </p:cNvSpPr>
          <p:nvPr/>
        </p:nvSpPr>
        <p:spPr bwMode="auto">
          <a:xfrm>
            <a:off x="7936223" y="3619872"/>
            <a:ext cx="942259" cy="944144"/>
          </a:xfrm>
          <a:prstGeom prst="ellipse">
            <a:avLst/>
          </a:prstGeom>
          <a:solidFill>
            <a:srgbClr val="46B688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22"/>
          <p:cNvSpPr>
            <a:spLocks noChangeArrowheads="1"/>
          </p:cNvSpPr>
          <p:nvPr/>
        </p:nvSpPr>
        <p:spPr bwMode="auto">
          <a:xfrm>
            <a:off x="9598369" y="2218737"/>
            <a:ext cx="1171228" cy="1174055"/>
          </a:xfrm>
          <a:prstGeom prst="ellipse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Oval 21"/>
          <p:cNvSpPr>
            <a:spLocks noChangeArrowheads="1"/>
          </p:cNvSpPr>
          <p:nvPr/>
        </p:nvSpPr>
        <p:spPr bwMode="auto">
          <a:xfrm>
            <a:off x="9711439" y="2332746"/>
            <a:ext cx="942259" cy="946028"/>
          </a:xfrm>
          <a:prstGeom prst="ellipse">
            <a:avLst/>
          </a:prstGeom>
          <a:solidFill>
            <a:srgbClr val="FEA34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1157828" y="1560944"/>
            <a:ext cx="6622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JAN-FEB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57828" y="1806044"/>
            <a:ext cx="158821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 is simply dummy text of the printing and typesetting industry. 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2853516" y="4468096"/>
            <a:ext cx="77745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MAR-APR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2853512" y="4759376"/>
            <a:ext cx="158821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 is simply dummy text of the printing and typesetting industry. 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626944" y="1560944"/>
            <a:ext cx="74578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MAY-JUN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4626940" y="1806044"/>
            <a:ext cx="158821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 is simply dummy text of the printing and typesetting industry. 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6322628" y="4468096"/>
            <a:ext cx="70391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JUL-AUG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6322624" y="4759376"/>
            <a:ext cx="158821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 is simply dummy text of the printing and typesetting industry. 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8083114" y="1560944"/>
            <a:ext cx="7191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SEP-OCT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083114" y="1806044"/>
            <a:ext cx="158821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 is simply dummy text of the printing and typesetting industry.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9778802" y="4468096"/>
            <a:ext cx="72417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/>
              <a:t>NOV-SEP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778798" y="4759376"/>
            <a:ext cx="158821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 is simply dummy text of the printing and typesetting industry. </a:t>
            </a:r>
          </a:p>
        </p:txBody>
      </p:sp>
      <p:cxnSp>
        <p:nvCxnSpPr>
          <p:cNvPr id="136" name="Straight Connector 135"/>
          <p:cNvCxnSpPr/>
          <p:nvPr/>
        </p:nvCxnSpPr>
        <p:spPr>
          <a:xfrm>
            <a:off x="814388" y="5641827"/>
            <a:ext cx="105632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814388" y="5817282"/>
            <a:ext cx="105632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 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grpSp>
        <p:nvGrpSpPr>
          <p:cNvPr id="138" name="Group 137"/>
          <p:cNvGrpSpPr/>
          <p:nvPr/>
        </p:nvGrpSpPr>
        <p:grpSpPr>
          <a:xfrm>
            <a:off x="10034627" y="2667727"/>
            <a:ext cx="287338" cy="287338"/>
            <a:chOff x="4319588" y="2492375"/>
            <a:chExt cx="287338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39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8258576" y="3965622"/>
            <a:ext cx="285750" cy="287338"/>
            <a:chOff x="2025650" y="4786313"/>
            <a:chExt cx="285750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42" name="Freeform 565"/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566"/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6582774" y="2693047"/>
            <a:ext cx="285750" cy="225425"/>
            <a:chOff x="9883775" y="5410200"/>
            <a:chExt cx="285750" cy="225425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45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7" name="Freeform 4347"/>
          <p:cNvSpPr>
            <a:spLocks/>
          </p:cNvSpPr>
          <p:nvPr/>
        </p:nvSpPr>
        <p:spPr bwMode="auto">
          <a:xfrm>
            <a:off x="4795327" y="3949863"/>
            <a:ext cx="284163" cy="284163"/>
          </a:xfrm>
          <a:custGeom>
            <a:avLst/>
            <a:gdLst>
              <a:gd name="T0" fmla="*/ 795 w 891"/>
              <a:gd name="T1" fmla="*/ 575 h 893"/>
              <a:gd name="T2" fmla="*/ 727 w 891"/>
              <a:gd name="T3" fmla="*/ 560 h 893"/>
              <a:gd name="T4" fmla="*/ 546 w 891"/>
              <a:gd name="T5" fmla="*/ 446 h 893"/>
              <a:gd name="T6" fmla="*/ 742 w 891"/>
              <a:gd name="T7" fmla="*/ 331 h 893"/>
              <a:gd name="T8" fmla="*/ 831 w 891"/>
              <a:gd name="T9" fmla="*/ 295 h 893"/>
              <a:gd name="T10" fmla="*/ 877 w 891"/>
              <a:gd name="T11" fmla="*/ 233 h 893"/>
              <a:gd name="T12" fmla="*/ 891 w 891"/>
              <a:gd name="T13" fmla="*/ 163 h 893"/>
              <a:gd name="T14" fmla="*/ 876 w 891"/>
              <a:gd name="T15" fmla="*/ 101 h 893"/>
              <a:gd name="T16" fmla="*/ 856 w 891"/>
              <a:gd name="T17" fmla="*/ 98 h 893"/>
              <a:gd name="T18" fmla="*/ 797 w 891"/>
              <a:gd name="T19" fmla="*/ 36 h 893"/>
              <a:gd name="T20" fmla="*/ 794 w 891"/>
              <a:gd name="T21" fmla="*/ 15 h 893"/>
              <a:gd name="T22" fmla="*/ 709 w 891"/>
              <a:gd name="T23" fmla="*/ 1 h 893"/>
              <a:gd name="T24" fmla="*/ 620 w 891"/>
              <a:gd name="T25" fmla="*/ 38 h 893"/>
              <a:gd name="T26" fmla="*/ 574 w 891"/>
              <a:gd name="T27" fmla="*/ 97 h 893"/>
              <a:gd name="T28" fmla="*/ 559 w 891"/>
              <a:gd name="T29" fmla="*/ 163 h 893"/>
              <a:gd name="T30" fmla="*/ 446 w 891"/>
              <a:gd name="T31" fmla="*/ 345 h 893"/>
              <a:gd name="T32" fmla="*/ 331 w 891"/>
              <a:gd name="T33" fmla="*/ 163 h 893"/>
              <a:gd name="T34" fmla="*/ 316 w 891"/>
              <a:gd name="T35" fmla="*/ 97 h 893"/>
              <a:gd name="T36" fmla="*/ 274 w 891"/>
              <a:gd name="T37" fmla="*/ 40 h 893"/>
              <a:gd name="T38" fmla="*/ 209 w 891"/>
              <a:gd name="T39" fmla="*/ 6 h 893"/>
              <a:gd name="T40" fmla="*/ 139 w 891"/>
              <a:gd name="T41" fmla="*/ 3 h 893"/>
              <a:gd name="T42" fmla="*/ 96 w 891"/>
              <a:gd name="T43" fmla="*/ 21 h 893"/>
              <a:gd name="T44" fmla="*/ 179 w 891"/>
              <a:gd name="T45" fmla="*/ 105 h 893"/>
              <a:gd name="T46" fmla="*/ 28 w 891"/>
              <a:gd name="T47" fmla="*/ 95 h 893"/>
              <a:gd name="T48" fmla="*/ 8 w 891"/>
              <a:gd name="T49" fmla="*/ 116 h 893"/>
              <a:gd name="T50" fmla="*/ 1 w 891"/>
              <a:gd name="T51" fmla="*/ 188 h 893"/>
              <a:gd name="T52" fmla="*/ 24 w 891"/>
              <a:gd name="T53" fmla="*/ 256 h 893"/>
              <a:gd name="T54" fmla="*/ 76 w 891"/>
              <a:gd name="T55" fmla="*/ 308 h 893"/>
              <a:gd name="T56" fmla="*/ 140 w 891"/>
              <a:gd name="T57" fmla="*/ 331 h 893"/>
              <a:gd name="T58" fmla="*/ 209 w 891"/>
              <a:gd name="T59" fmla="*/ 327 h 893"/>
              <a:gd name="T60" fmla="*/ 179 w 891"/>
              <a:gd name="T61" fmla="*/ 561 h 893"/>
              <a:gd name="T62" fmla="*/ 87 w 891"/>
              <a:gd name="T63" fmla="*/ 580 h 893"/>
              <a:gd name="T64" fmla="*/ 24 w 891"/>
              <a:gd name="T65" fmla="*/ 638 h 893"/>
              <a:gd name="T66" fmla="*/ 1 w 891"/>
              <a:gd name="T67" fmla="*/ 707 h 893"/>
              <a:gd name="T68" fmla="*/ 8 w 891"/>
              <a:gd name="T69" fmla="*/ 778 h 893"/>
              <a:gd name="T70" fmla="*/ 28 w 891"/>
              <a:gd name="T71" fmla="*/ 800 h 893"/>
              <a:gd name="T72" fmla="*/ 179 w 891"/>
              <a:gd name="T73" fmla="*/ 786 h 893"/>
              <a:gd name="T74" fmla="*/ 96 w 891"/>
              <a:gd name="T75" fmla="*/ 871 h 893"/>
              <a:gd name="T76" fmla="*/ 152 w 891"/>
              <a:gd name="T77" fmla="*/ 892 h 893"/>
              <a:gd name="T78" fmla="*/ 231 w 891"/>
              <a:gd name="T79" fmla="*/ 879 h 893"/>
              <a:gd name="T80" fmla="*/ 299 w 891"/>
              <a:gd name="T81" fmla="*/ 825 h 893"/>
              <a:gd name="T82" fmla="*/ 328 w 891"/>
              <a:gd name="T83" fmla="*/ 763 h 893"/>
              <a:gd name="T84" fmla="*/ 328 w 891"/>
              <a:gd name="T85" fmla="*/ 694 h 893"/>
              <a:gd name="T86" fmla="*/ 563 w 891"/>
              <a:gd name="T87" fmla="*/ 694 h 893"/>
              <a:gd name="T88" fmla="*/ 564 w 891"/>
              <a:gd name="T89" fmla="*/ 762 h 893"/>
              <a:gd name="T90" fmla="*/ 592 w 891"/>
              <a:gd name="T91" fmla="*/ 825 h 893"/>
              <a:gd name="T92" fmla="*/ 662 w 891"/>
              <a:gd name="T93" fmla="*/ 879 h 893"/>
              <a:gd name="T94" fmla="*/ 758 w 891"/>
              <a:gd name="T95" fmla="*/ 889 h 893"/>
              <a:gd name="T96" fmla="*/ 799 w 891"/>
              <a:gd name="T97" fmla="*/ 867 h 893"/>
              <a:gd name="T98" fmla="*/ 718 w 891"/>
              <a:gd name="T99" fmla="*/ 717 h 893"/>
              <a:gd name="T100" fmla="*/ 866 w 891"/>
              <a:gd name="T101" fmla="*/ 800 h 893"/>
              <a:gd name="T102" fmla="*/ 886 w 891"/>
              <a:gd name="T103" fmla="*/ 767 h 893"/>
              <a:gd name="T104" fmla="*/ 889 w 891"/>
              <a:gd name="T105" fmla="*/ 695 h 893"/>
              <a:gd name="T106" fmla="*/ 859 w 891"/>
              <a:gd name="T107" fmla="*/ 62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1" h="893">
                <a:moveTo>
                  <a:pt x="843" y="608"/>
                </a:moveTo>
                <a:lnTo>
                  <a:pt x="834" y="600"/>
                </a:lnTo>
                <a:lnTo>
                  <a:pt x="825" y="593"/>
                </a:lnTo>
                <a:lnTo>
                  <a:pt x="815" y="586"/>
                </a:lnTo>
                <a:lnTo>
                  <a:pt x="805" y="580"/>
                </a:lnTo>
                <a:lnTo>
                  <a:pt x="795" y="575"/>
                </a:lnTo>
                <a:lnTo>
                  <a:pt x="784" y="571"/>
                </a:lnTo>
                <a:lnTo>
                  <a:pt x="773" y="567"/>
                </a:lnTo>
                <a:lnTo>
                  <a:pt x="762" y="564"/>
                </a:lnTo>
                <a:lnTo>
                  <a:pt x="751" y="562"/>
                </a:lnTo>
                <a:lnTo>
                  <a:pt x="739" y="560"/>
                </a:lnTo>
                <a:lnTo>
                  <a:pt x="727" y="560"/>
                </a:lnTo>
                <a:lnTo>
                  <a:pt x="717" y="560"/>
                </a:lnTo>
                <a:lnTo>
                  <a:pt x="705" y="561"/>
                </a:lnTo>
                <a:lnTo>
                  <a:pt x="693" y="563"/>
                </a:lnTo>
                <a:lnTo>
                  <a:pt x="681" y="566"/>
                </a:lnTo>
                <a:lnTo>
                  <a:pt x="671" y="570"/>
                </a:lnTo>
                <a:lnTo>
                  <a:pt x="546" y="446"/>
                </a:lnTo>
                <a:lnTo>
                  <a:pt x="671" y="323"/>
                </a:lnTo>
                <a:lnTo>
                  <a:pt x="683" y="327"/>
                </a:lnTo>
                <a:lnTo>
                  <a:pt x="697" y="329"/>
                </a:lnTo>
                <a:lnTo>
                  <a:pt x="711" y="331"/>
                </a:lnTo>
                <a:lnTo>
                  <a:pt x="725" y="331"/>
                </a:lnTo>
                <a:lnTo>
                  <a:pt x="742" y="331"/>
                </a:lnTo>
                <a:lnTo>
                  <a:pt x="758" y="329"/>
                </a:lnTo>
                <a:lnTo>
                  <a:pt x="774" y="325"/>
                </a:lnTo>
                <a:lnTo>
                  <a:pt x="789" y="319"/>
                </a:lnTo>
                <a:lnTo>
                  <a:pt x="803" y="313"/>
                </a:lnTo>
                <a:lnTo>
                  <a:pt x="817" y="304"/>
                </a:lnTo>
                <a:lnTo>
                  <a:pt x="831" y="295"/>
                </a:lnTo>
                <a:lnTo>
                  <a:pt x="843" y="284"/>
                </a:lnTo>
                <a:lnTo>
                  <a:pt x="851" y="275"/>
                </a:lnTo>
                <a:lnTo>
                  <a:pt x="859" y="265"/>
                </a:lnTo>
                <a:lnTo>
                  <a:pt x="866" y="254"/>
                </a:lnTo>
                <a:lnTo>
                  <a:pt x="873" y="243"/>
                </a:lnTo>
                <a:lnTo>
                  <a:pt x="877" y="233"/>
                </a:lnTo>
                <a:lnTo>
                  <a:pt x="882" y="221"/>
                </a:lnTo>
                <a:lnTo>
                  <a:pt x="886" y="210"/>
                </a:lnTo>
                <a:lnTo>
                  <a:pt x="889" y="199"/>
                </a:lnTo>
                <a:lnTo>
                  <a:pt x="890" y="187"/>
                </a:lnTo>
                <a:lnTo>
                  <a:pt x="891" y="175"/>
                </a:lnTo>
                <a:lnTo>
                  <a:pt x="891" y="163"/>
                </a:lnTo>
                <a:lnTo>
                  <a:pt x="891" y="151"/>
                </a:lnTo>
                <a:lnTo>
                  <a:pt x="889" y="140"/>
                </a:lnTo>
                <a:lnTo>
                  <a:pt x="886" y="128"/>
                </a:lnTo>
                <a:lnTo>
                  <a:pt x="882" y="116"/>
                </a:lnTo>
                <a:lnTo>
                  <a:pt x="878" y="104"/>
                </a:lnTo>
                <a:lnTo>
                  <a:pt x="876" y="101"/>
                </a:lnTo>
                <a:lnTo>
                  <a:pt x="874" y="98"/>
                </a:lnTo>
                <a:lnTo>
                  <a:pt x="871" y="96"/>
                </a:lnTo>
                <a:lnTo>
                  <a:pt x="866" y="96"/>
                </a:lnTo>
                <a:lnTo>
                  <a:pt x="863" y="95"/>
                </a:lnTo>
                <a:lnTo>
                  <a:pt x="859" y="96"/>
                </a:lnTo>
                <a:lnTo>
                  <a:pt x="856" y="98"/>
                </a:lnTo>
                <a:lnTo>
                  <a:pt x="852" y="100"/>
                </a:lnTo>
                <a:lnTo>
                  <a:pt x="785" y="179"/>
                </a:lnTo>
                <a:lnTo>
                  <a:pt x="718" y="179"/>
                </a:lnTo>
                <a:lnTo>
                  <a:pt x="718" y="105"/>
                </a:lnTo>
                <a:lnTo>
                  <a:pt x="795" y="38"/>
                </a:lnTo>
                <a:lnTo>
                  <a:pt x="797" y="36"/>
                </a:lnTo>
                <a:lnTo>
                  <a:pt x="799" y="33"/>
                </a:lnTo>
                <a:lnTo>
                  <a:pt x="799" y="28"/>
                </a:lnTo>
                <a:lnTo>
                  <a:pt x="799" y="25"/>
                </a:lnTo>
                <a:lnTo>
                  <a:pt x="798" y="21"/>
                </a:lnTo>
                <a:lnTo>
                  <a:pt x="796" y="18"/>
                </a:lnTo>
                <a:lnTo>
                  <a:pt x="794" y="15"/>
                </a:lnTo>
                <a:lnTo>
                  <a:pt x="790" y="13"/>
                </a:lnTo>
                <a:lnTo>
                  <a:pt x="774" y="7"/>
                </a:lnTo>
                <a:lnTo>
                  <a:pt x="758" y="3"/>
                </a:lnTo>
                <a:lnTo>
                  <a:pt x="742" y="1"/>
                </a:lnTo>
                <a:lnTo>
                  <a:pt x="725" y="0"/>
                </a:lnTo>
                <a:lnTo>
                  <a:pt x="709" y="1"/>
                </a:lnTo>
                <a:lnTo>
                  <a:pt x="693" y="3"/>
                </a:lnTo>
                <a:lnTo>
                  <a:pt x="677" y="7"/>
                </a:lnTo>
                <a:lnTo>
                  <a:pt x="662" y="12"/>
                </a:lnTo>
                <a:lnTo>
                  <a:pt x="647" y="20"/>
                </a:lnTo>
                <a:lnTo>
                  <a:pt x="633" y="28"/>
                </a:lnTo>
                <a:lnTo>
                  <a:pt x="620" y="38"/>
                </a:lnTo>
                <a:lnTo>
                  <a:pt x="609" y="49"/>
                </a:lnTo>
                <a:lnTo>
                  <a:pt x="600" y="57"/>
                </a:lnTo>
                <a:lnTo>
                  <a:pt x="592" y="67"/>
                </a:lnTo>
                <a:lnTo>
                  <a:pt x="586" y="77"/>
                </a:lnTo>
                <a:lnTo>
                  <a:pt x="580" y="86"/>
                </a:lnTo>
                <a:lnTo>
                  <a:pt x="574" y="97"/>
                </a:lnTo>
                <a:lnTo>
                  <a:pt x="570" y="108"/>
                </a:lnTo>
                <a:lnTo>
                  <a:pt x="567" y="118"/>
                </a:lnTo>
                <a:lnTo>
                  <a:pt x="564" y="129"/>
                </a:lnTo>
                <a:lnTo>
                  <a:pt x="561" y="141"/>
                </a:lnTo>
                <a:lnTo>
                  <a:pt x="560" y="153"/>
                </a:lnTo>
                <a:lnTo>
                  <a:pt x="559" y="163"/>
                </a:lnTo>
                <a:lnTo>
                  <a:pt x="560" y="175"/>
                </a:lnTo>
                <a:lnTo>
                  <a:pt x="561" y="187"/>
                </a:lnTo>
                <a:lnTo>
                  <a:pt x="563" y="199"/>
                </a:lnTo>
                <a:lnTo>
                  <a:pt x="566" y="209"/>
                </a:lnTo>
                <a:lnTo>
                  <a:pt x="569" y="221"/>
                </a:lnTo>
                <a:lnTo>
                  <a:pt x="446" y="345"/>
                </a:lnTo>
                <a:lnTo>
                  <a:pt x="322" y="221"/>
                </a:lnTo>
                <a:lnTo>
                  <a:pt x="325" y="209"/>
                </a:lnTo>
                <a:lnTo>
                  <a:pt x="328" y="199"/>
                </a:lnTo>
                <a:lnTo>
                  <a:pt x="330" y="187"/>
                </a:lnTo>
                <a:lnTo>
                  <a:pt x="331" y="175"/>
                </a:lnTo>
                <a:lnTo>
                  <a:pt x="331" y="163"/>
                </a:lnTo>
                <a:lnTo>
                  <a:pt x="330" y="153"/>
                </a:lnTo>
                <a:lnTo>
                  <a:pt x="329" y="141"/>
                </a:lnTo>
                <a:lnTo>
                  <a:pt x="327" y="129"/>
                </a:lnTo>
                <a:lnTo>
                  <a:pt x="324" y="118"/>
                </a:lnTo>
                <a:lnTo>
                  <a:pt x="321" y="108"/>
                </a:lnTo>
                <a:lnTo>
                  <a:pt x="316" y="97"/>
                </a:lnTo>
                <a:lnTo>
                  <a:pt x="311" y="86"/>
                </a:lnTo>
                <a:lnTo>
                  <a:pt x="305" y="77"/>
                </a:lnTo>
                <a:lnTo>
                  <a:pt x="298" y="67"/>
                </a:lnTo>
                <a:lnTo>
                  <a:pt x="291" y="57"/>
                </a:lnTo>
                <a:lnTo>
                  <a:pt x="282" y="49"/>
                </a:lnTo>
                <a:lnTo>
                  <a:pt x="274" y="40"/>
                </a:lnTo>
                <a:lnTo>
                  <a:pt x="264" y="33"/>
                </a:lnTo>
                <a:lnTo>
                  <a:pt x="253" y="25"/>
                </a:lnTo>
                <a:lnTo>
                  <a:pt x="243" y="20"/>
                </a:lnTo>
                <a:lnTo>
                  <a:pt x="232" y="15"/>
                </a:lnTo>
                <a:lnTo>
                  <a:pt x="221" y="10"/>
                </a:lnTo>
                <a:lnTo>
                  <a:pt x="209" y="6"/>
                </a:lnTo>
                <a:lnTo>
                  <a:pt x="199" y="4"/>
                </a:lnTo>
                <a:lnTo>
                  <a:pt x="187" y="2"/>
                </a:lnTo>
                <a:lnTo>
                  <a:pt x="175" y="1"/>
                </a:lnTo>
                <a:lnTo>
                  <a:pt x="162" y="1"/>
                </a:lnTo>
                <a:lnTo>
                  <a:pt x="151" y="2"/>
                </a:lnTo>
                <a:lnTo>
                  <a:pt x="139" y="3"/>
                </a:lnTo>
                <a:lnTo>
                  <a:pt x="127" y="5"/>
                </a:lnTo>
                <a:lnTo>
                  <a:pt x="115" y="9"/>
                </a:lnTo>
                <a:lnTo>
                  <a:pt x="103" y="13"/>
                </a:lnTo>
                <a:lnTo>
                  <a:pt x="100" y="16"/>
                </a:lnTo>
                <a:lnTo>
                  <a:pt x="97" y="18"/>
                </a:lnTo>
                <a:lnTo>
                  <a:pt x="96" y="21"/>
                </a:lnTo>
                <a:lnTo>
                  <a:pt x="95" y="25"/>
                </a:lnTo>
                <a:lnTo>
                  <a:pt x="94" y="28"/>
                </a:lnTo>
                <a:lnTo>
                  <a:pt x="95" y="33"/>
                </a:lnTo>
                <a:lnTo>
                  <a:pt x="97" y="36"/>
                </a:lnTo>
                <a:lnTo>
                  <a:pt x="99" y="38"/>
                </a:lnTo>
                <a:lnTo>
                  <a:pt x="179" y="105"/>
                </a:lnTo>
                <a:lnTo>
                  <a:pt x="179" y="179"/>
                </a:lnTo>
                <a:lnTo>
                  <a:pt x="106" y="179"/>
                </a:lnTo>
                <a:lnTo>
                  <a:pt x="38" y="100"/>
                </a:lnTo>
                <a:lnTo>
                  <a:pt x="35" y="98"/>
                </a:lnTo>
                <a:lnTo>
                  <a:pt x="32" y="96"/>
                </a:lnTo>
                <a:lnTo>
                  <a:pt x="28" y="95"/>
                </a:lnTo>
                <a:lnTo>
                  <a:pt x="24" y="96"/>
                </a:lnTo>
                <a:lnTo>
                  <a:pt x="20" y="96"/>
                </a:lnTo>
                <a:lnTo>
                  <a:pt x="17" y="98"/>
                </a:lnTo>
                <a:lnTo>
                  <a:pt x="15" y="101"/>
                </a:lnTo>
                <a:lnTo>
                  <a:pt x="13" y="104"/>
                </a:lnTo>
                <a:lnTo>
                  <a:pt x="8" y="116"/>
                </a:lnTo>
                <a:lnTo>
                  <a:pt x="5" y="128"/>
                </a:lnTo>
                <a:lnTo>
                  <a:pt x="2" y="140"/>
                </a:lnTo>
                <a:lnTo>
                  <a:pt x="1" y="151"/>
                </a:lnTo>
                <a:lnTo>
                  <a:pt x="0" y="164"/>
                </a:lnTo>
                <a:lnTo>
                  <a:pt x="0" y="176"/>
                </a:lnTo>
                <a:lnTo>
                  <a:pt x="1" y="188"/>
                </a:lnTo>
                <a:lnTo>
                  <a:pt x="3" y="200"/>
                </a:lnTo>
                <a:lnTo>
                  <a:pt x="5" y="211"/>
                </a:lnTo>
                <a:lnTo>
                  <a:pt x="9" y="223"/>
                </a:lnTo>
                <a:lnTo>
                  <a:pt x="14" y="235"/>
                </a:lnTo>
                <a:lnTo>
                  <a:pt x="19" y="246"/>
                </a:lnTo>
                <a:lnTo>
                  <a:pt x="24" y="256"/>
                </a:lnTo>
                <a:lnTo>
                  <a:pt x="32" y="266"/>
                </a:lnTo>
                <a:lnTo>
                  <a:pt x="39" y="276"/>
                </a:lnTo>
                <a:lnTo>
                  <a:pt x="48" y="285"/>
                </a:lnTo>
                <a:lnTo>
                  <a:pt x="56" y="294"/>
                </a:lnTo>
                <a:lnTo>
                  <a:pt x="66" y="300"/>
                </a:lnTo>
                <a:lnTo>
                  <a:pt x="76" y="308"/>
                </a:lnTo>
                <a:lnTo>
                  <a:pt x="85" y="313"/>
                </a:lnTo>
                <a:lnTo>
                  <a:pt x="96" y="318"/>
                </a:lnTo>
                <a:lnTo>
                  <a:pt x="107" y="323"/>
                </a:lnTo>
                <a:lnTo>
                  <a:pt x="117" y="326"/>
                </a:lnTo>
                <a:lnTo>
                  <a:pt x="128" y="329"/>
                </a:lnTo>
                <a:lnTo>
                  <a:pt x="140" y="331"/>
                </a:lnTo>
                <a:lnTo>
                  <a:pt x="152" y="332"/>
                </a:lnTo>
                <a:lnTo>
                  <a:pt x="162" y="333"/>
                </a:lnTo>
                <a:lnTo>
                  <a:pt x="174" y="332"/>
                </a:lnTo>
                <a:lnTo>
                  <a:pt x="186" y="331"/>
                </a:lnTo>
                <a:lnTo>
                  <a:pt x="198" y="329"/>
                </a:lnTo>
                <a:lnTo>
                  <a:pt x="209" y="327"/>
                </a:lnTo>
                <a:lnTo>
                  <a:pt x="220" y="323"/>
                </a:lnTo>
                <a:lnTo>
                  <a:pt x="344" y="447"/>
                </a:lnTo>
                <a:lnTo>
                  <a:pt x="220" y="570"/>
                </a:lnTo>
                <a:lnTo>
                  <a:pt x="207" y="566"/>
                </a:lnTo>
                <a:lnTo>
                  <a:pt x="193" y="562"/>
                </a:lnTo>
                <a:lnTo>
                  <a:pt x="179" y="561"/>
                </a:lnTo>
                <a:lnTo>
                  <a:pt x="166" y="560"/>
                </a:lnTo>
                <a:lnTo>
                  <a:pt x="148" y="561"/>
                </a:lnTo>
                <a:lnTo>
                  <a:pt x="132" y="563"/>
                </a:lnTo>
                <a:lnTo>
                  <a:pt x="117" y="568"/>
                </a:lnTo>
                <a:lnTo>
                  <a:pt x="101" y="573"/>
                </a:lnTo>
                <a:lnTo>
                  <a:pt x="87" y="580"/>
                </a:lnTo>
                <a:lnTo>
                  <a:pt x="74" y="588"/>
                </a:lnTo>
                <a:lnTo>
                  <a:pt x="61" y="598"/>
                </a:lnTo>
                <a:lnTo>
                  <a:pt x="48" y="608"/>
                </a:lnTo>
                <a:lnTo>
                  <a:pt x="39" y="618"/>
                </a:lnTo>
                <a:lnTo>
                  <a:pt x="32" y="628"/>
                </a:lnTo>
                <a:lnTo>
                  <a:pt x="24" y="638"/>
                </a:lnTo>
                <a:lnTo>
                  <a:pt x="19" y="649"/>
                </a:lnTo>
                <a:lnTo>
                  <a:pt x="14" y="660"/>
                </a:lnTo>
                <a:lnTo>
                  <a:pt x="9" y="671"/>
                </a:lnTo>
                <a:lnTo>
                  <a:pt x="5" y="683"/>
                </a:lnTo>
                <a:lnTo>
                  <a:pt x="3" y="695"/>
                </a:lnTo>
                <a:lnTo>
                  <a:pt x="1" y="707"/>
                </a:lnTo>
                <a:lnTo>
                  <a:pt x="0" y="719"/>
                </a:lnTo>
                <a:lnTo>
                  <a:pt x="0" y="730"/>
                </a:lnTo>
                <a:lnTo>
                  <a:pt x="1" y="743"/>
                </a:lnTo>
                <a:lnTo>
                  <a:pt x="2" y="755"/>
                </a:lnTo>
                <a:lnTo>
                  <a:pt x="5" y="767"/>
                </a:lnTo>
                <a:lnTo>
                  <a:pt x="8" y="778"/>
                </a:lnTo>
                <a:lnTo>
                  <a:pt x="13" y="790"/>
                </a:lnTo>
                <a:lnTo>
                  <a:pt x="15" y="793"/>
                </a:lnTo>
                <a:lnTo>
                  <a:pt x="17" y="797"/>
                </a:lnTo>
                <a:lnTo>
                  <a:pt x="20" y="799"/>
                </a:lnTo>
                <a:lnTo>
                  <a:pt x="24" y="800"/>
                </a:lnTo>
                <a:lnTo>
                  <a:pt x="28" y="800"/>
                </a:lnTo>
                <a:lnTo>
                  <a:pt x="32" y="799"/>
                </a:lnTo>
                <a:lnTo>
                  <a:pt x="35" y="798"/>
                </a:lnTo>
                <a:lnTo>
                  <a:pt x="38" y="796"/>
                </a:lnTo>
                <a:lnTo>
                  <a:pt x="106" y="717"/>
                </a:lnTo>
                <a:lnTo>
                  <a:pt x="179" y="717"/>
                </a:lnTo>
                <a:lnTo>
                  <a:pt x="179" y="786"/>
                </a:lnTo>
                <a:lnTo>
                  <a:pt x="99" y="853"/>
                </a:lnTo>
                <a:lnTo>
                  <a:pt x="97" y="857"/>
                </a:lnTo>
                <a:lnTo>
                  <a:pt x="95" y="860"/>
                </a:lnTo>
                <a:lnTo>
                  <a:pt x="94" y="863"/>
                </a:lnTo>
                <a:lnTo>
                  <a:pt x="95" y="867"/>
                </a:lnTo>
                <a:lnTo>
                  <a:pt x="96" y="871"/>
                </a:lnTo>
                <a:lnTo>
                  <a:pt x="97" y="875"/>
                </a:lnTo>
                <a:lnTo>
                  <a:pt x="100" y="877"/>
                </a:lnTo>
                <a:lnTo>
                  <a:pt x="103" y="879"/>
                </a:lnTo>
                <a:lnTo>
                  <a:pt x="120" y="884"/>
                </a:lnTo>
                <a:lnTo>
                  <a:pt x="135" y="889"/>
                </a:lnTo>
                <a:lnTo>
                  <a:pt x="152" y="892"/>
                </a:lnTo>
                <a:lnTo>
                  <a:pt x="168" y="893"/>
                </a:lnTo>
                <a:lnTo>
                  <a:pt x="168" y="893"/>
                </a:lnTo>
                <a:lnTo>
                  <a:pt x="184" y="892"/>
                </a:lnTo>
                <a:lnTo>
                  <a:pt x="200" y="889"/>
                </a:lnTo>
                <a:lnTo>
                  <a:pt x="216" y="885"/>
                </a:lnTo>
                <a:lnTo>
                  <a:pt x="231" y="879"/>
                </a:lnTo>
                <a:lnTo>
                  <a:pt x="245" y="873"/>
                </a:lnTo>
                <a:lnTo>
                  <a:pt x="259" y="864"/>
                </a:lnTo>
                <a:lnTo>
                  <a:pt x="271" y="854"/>
                </a:lnTo>
                <a:lnTo>
                  <a:pt x="284" y="843"/>
                </a:lnTo>
                <a:lnTo>
                  <a:pt x="292" y="834"/>
                </a:lnTo>
                <a:lnTo>
                  <a:pt x="299" y="825"/>
                </a:lnTo>
                <a:lnTo>
                  <a:pt x="306" y="816"/>
                </a:lnTo>
                <a:lnTo>
                  <a:pt x="312" y="806"/>
                </a:lnTo>
                <a:lnTo>
                  <a:pt x="317" y="796"/>
                </a:lnTo>
                <a:lnTo>
                  <a:pt x="322" y="785"/>
                </a:lnTo>
                <a:lnTo>
                  <a:pt x="325" y="774"/>
                </a:lnTo>
                <a:lnTo>
                  <a:pt x="328" y="763"/>
                </a:lnTo>
                <a:lnTo>
                  <a:pt x="330" y="752"/>
                </a:lnTo>
                <a:lnTo>
                  <a:pt x="331" y="741"/>
                </a:lnTo>
                <a:lnTo>
                  <a:pt x="331" y="729"/>
                </a:lnTo>
                <a:lnTo>
                  <a:pt x="331" y="717"/>
                </a:lnTo>
                <a:lnTo>
                  <a:pt x="330" y="706"/>
                </a:lnTo>
                <a:lnTo>
                  <a:pt x="328" y="694"/>
                </a:lnTo>
                <a:lnTo>
                  <a:pt x="325" y="682"/>
                </a:lnTo>
                <a:lnTo>
                  <a:pt x="322" y="671"/>
                </a:lnTo>
                <a:lnTo>
                  <a:pt x="446" y="547"/>
                </a:lnTo>
                <a:lnTo>
                  <a:pt x="569" y="671"/>
                </a:lnTo>
                <a:lnTo>
                  <a:pt x="566" y="682"/>
                </a:lnTo>
                <a:lnTo>
                  <a:pt x="563" y="694"/>
                </a:lnTo>
                <a:lnTo>
                  <a:pt x="561" y="706"/>
                </a:lnTo>
                <a:lnTo>
                  <a:pt x="560" y="716"/>
                </a:lnTo>
                <a:lnTo>
                  <a:pt x="559" y="728"/>
                </a:lnTo>
                <a:lnTo>
                  <a:pt x="560" y="740"/>
                </a:lnTo>
                <a:lnTo>
                  <a:pt x="561" y="752"/>
                </a:lnTo>
                <a:lnTo>
                  <a:pt x="564" y="762"/>
                </a:lnTo>
                <a:lnTo>
                  <a:pt x="567" y="774"/>
                </a:lnTo>
                <a:lnTo>
                  <a:pt x="570" y="785"/>
                </a:lnTo>
                <a:lnTo>
                  <a:pt x="574" y="796"/>
                </a:lnTo>
                <a:lnTo>
                  <a:pt x="580" y="805"/>
                </a:lnTo>
                <a:lnTo>
                  <a:pt x="586" y="816"/>
                </a:lnTo>
                <a:lnTo>
                  <a:pt x="592" y="825"/>
                </a:lnTo>
                <a:lnTo>
                  <a:pt x="600" y="834"/>
                </a:lnTo>
                <a:lnTo>
                  <a:pt x="609" y="843"/>
                </a:lnTo>
                <a:lnTo>
                  <a:pt x="620" y="854"/>
                </a:lnTo>
                <a:lnTo>
                  <a:pt x="634" y="864"/>
                </a:lnTo>
                <a:lnTo>
                  <a:pt x="648" y="873"/>
                </a:lnTo>
                <a:lnTo>
                  <a:pt x="662" y="879"/>
                </a:lnTo>
                <a:lnTo>
                  <a:pt x="678" y="885"/>
                </a:lnTo>
                <a:lnTo>
                  <a:pt x="693" y="889"/>
                </a:lnTo>
                <a:lnTo>
                  <a:pt x="709" y="892"/>
                </a:lnTo>
                <a:lnTo>
                  <a:pt x="725" y="893"/>
                </a:lnTo>
                <a:lnTo>
                  <a:pt x="741" y="892"/>
                </a:lnTo>
                <a:lnTo>
                  <a:pt x="758" y="889"/>
                </a:lnTo>
                <a:lnTo>
                  <a:pt x="774" y="884"/>
                </a:lnTo>
                <a:lnTo>
                  <a:pt x="790" y="879"/>
                </a:lnTo>
                <a:lnTo>
                  <a:pt x="794" y="877"/>
                </a:lnTo>
                <a:lnTo>
                  <a:pt x="796" y="875"/>
                </a:lnTo>
                <a:lnTo>
                  <a:pt x="798" y="871"/>
                </a:lnTo>
                <a:lnTo>
                  <a:pt x="799" y="867"/>
                </a:lnTo>
                <a:lnTo>
                  <a:pt x="799" y="863"/>
                </a:lnTo>
                <a:lnTo>
                  <a:pt x="799" y="860"/>
                </a:lnTo>
                <a:lnTo>
                  <a:pt x="797" y="857"/>
                </a:lnTo>
                <a:lnTo>
                  <a:pt x="795" y="853"/>
                </a:lnTo>
                <a:lnTo>
                  <a:pt x="718" y="786"/>
                </a:lnTo>
                <a:lnTo>
                  <a:pt x="718" y="717"/>
                </a:lnTo>
                <a:lnTo>
                  <a:pt x="785" y="717"/>
                </a:lnTo>
                <a:lnTo>
                  <a:pt x="854" y="796"/>
                </a:lnTo>
                <a:lnTo>
                  <a:pt x="856" y="798"/>
                </a:lnTo>
                <a:lnTo>
                  <a:pt x="859" y="799"/>
                </a:lnTo>
                <a:lnTo>
                  <a:pt x="863" y="800"/>
                </a:lnTo>
                <a:lnTo>
                  <a:pt x="866" y="800"/>
                </a:lnTo>
                <a:lnTo>
                  <a:pt x="871" y="799"/>
                </a:lnTo>
                <a:lnTo>
                  <a:pt x="874" y="797"/>
                </a:lnTo>
                <a:lnTo>
                  <a:pt x="876" y="793"/>
                </a:lnTo>
                <a:lnTo>
                  <a:pt x="878" y="790"/>
                </a:lnTo>
                <a:lnTo>
                  <a:pt x="882" y="778"/>
                </a:lnTo>
                <a:lnTo>
                  <a:pt x="886" y="767"/>
                </a:lnTo>
                <a:lnTo>
                  <a:pt x="889" y="755"/>
                </a:lnTo>
                <a:lnTo>
                  <a:pt x="891" y="743"/>
                </a:lnTo>
                <a:lnTo>
                  <a:pt x="891" y="730"/>
                </a:lnTo>
                <a:lnTo>
                  <a:pt x="891" y="719"/>
                </a:lnTo>
                <a:lnTo>
                  <a:pt x="890" y="707"/>
                </a:lnTo>
                <a:lnTo>
                  <a:pt x="889" y="695"/>
                </a:lnTo>
                <a:lnTo>
                  <a:pt x="886" y="683"/>
                </a:lnTo>
                <a:lnTo>
                  <a:pt x="882" y="671"/>
                </a:lnTo>
                <a:lnTo>
                  <a:pt x="877" y="660"/>
                </a:lnTo>
                <a:lnTo>
                  <a:pt x="872" y="649"/>
                </a:lnTo>
                <a:lnTo>
                  <a:pt x="866" y="638"/>
                </a:lnTo>
                <a:lnTo>
                  <a:pt x="859" y="628"/>
                </a:lnTo>
                <a:lnTo>
                  <a:pt x="851" y="618"/>
                </a:lnTo>
                <a:lnTo>
                  <a:pt x="843" y="6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8" name="Group 147"/>
          <p:cNvGrpSpPr/>
          <p:nvPr/>
        </p:nvGrpSpPr>
        <p:grpSpPr>
          <a:xfrm>
            <a:off x="3118178" y="2674791"/>
            <a:ext cx="284163" cy="261938"/>
            <a:chOff x="4313201" y="1920875"/>
            <a:chExt cx="284163" cy="2619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49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1380796" y="3948275"/>
            <a:ext cx="200025" cy="287338"/>
            <a:chOff x="10502900" y="815975"/>
            <a:chExt cx="200025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52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9823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Rectangle 228"/>
          <p:cNvSpPr/>
          <p:nvPr/>
        </p:nvSpPr>
        <p:spPr>
          <a:xfrm>
            <a:off x="9204601" y="-1"/>
            <a:ext cx="731926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1" name="Oval 270"/>
          <p:cNvSpPr/>
          <p:nvPr/>
        </p:nvSpPr>
        <p:spPr>
          <a:xfrm>
            <a:off x="9135639" y="1789617"/>
            <a:ext cx="871962" cy="87196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FUNNEL DIAGRAM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7468165" y="1"/>
            <a:ext cx="1582821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1" name="Rectangle 230"/>
          <p:cNvSpPr/>
          <p:nvPr/>
        </p:nvSpPr>
        <p:spPr>
          <a:xfrm>
            <a:off x="5729620" y="1"/>
            <a:ext cx="1582821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3998046" y="1"/>
            <a:ext cx="1582821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3" name="Rectangle 232"/>
          <p:cNvSpPr/>
          <p:nvPr/>
        </p:nvSpPr>
        <p:spPr>
          <a:xfrm>
            <a:off x="2261825" y="1"/>
            <a:ext cx="1582821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4" name="Rectangle 233"/>
          <p:cNvSpPr/>
          <p:nvPr/>
        </p:nvSpPr>
        <p:spPr>
          <a:xfrm>
            <a:off x="9204601" y="3793898"/>
            <a:ext cx="731926" cy="3064102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5" name="Rectangle 234"/>
          <p:cNvSpPr/>
          <p:nvPr/>
        </p:nvSpPr>
        <p:spPr>
          <a:xfrm>
            <a:off x="7468165" y="3793898"/>
            <a:ext cx="1582821" cy="3064102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5729620" y="3793898"/>
            <a:ext cx="1582821" cy="3064102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3998046" y="3793898"/>
            <a:ext cx="1582821" cy="3064102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2261825" y="3793898"/>
            <a:ext cx="1582821" cy="3064102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9" name="Oval 238"/>
          <p:cNvSpPr/>
          <p:nvPr/>
        </p:nvSpPr>
        <p:spPr>
          <a:xfrm>
            <a:off x="9189712" y="1843690"/>
            <a:ext cx="763815" cy="763815"/>
          </a:xfrm>
          <a:prstGeom prst="ellipse">
            <a:avLst/>
          </a:pr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0" name="Freeform 5"/>
          <p:cNvSpPr>
            <a:spLocks/>
          </p:cNvSpPr>
          <p:nvPr/>
        </p:nvSpPr>
        <p:spPr bwMode="auto">
          <a:xfrm>
            <a:off x="2261825" y="1713942"/>
            <a:ext cx="1585145" cy="1934363"/>
          </a:xfrm>
          <a:custGeom>
            <a:avLst/>
            <a:gdLst>
              <a:gd name="T0" fmla="*/ 682 w 682"/>
              <a:gd name="T1" fmla="*/ 1784 h 1784"/>
              <a:gd name="T2" fmla="*/ 682 w 682"/>
              <a:gd name="T3" fmla="*/ 239 h 1784"/>
              <a:gd name="T4" fmla="*/ 0 w 682"/>
              <a:gd name="T5" fmla="*/ 0 h 1784"/>
              <a:gd name="T6" fmla="*/ 0 w 682"/>
              <a:gd name="T7" fmla="*/ 1784 h 1784"/>
              <a:gd name="T8" fmla="*/ 682 w 682"/>
              <a:gd name="T9" fmla="*/ 1784 h 1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2" h="1784">
                <a:moveTo>
                  <a:pt x="682" y="1784"/>
                </a:moveTo>
                <a:lnTo>
                  <a:pt x="682" y="239"/>
                </a:lnTo>
                <a:lnTo>
                  <a:pt x="0" y="0"/>
                </a:lnTo>
                <a:lnTo>
                  <a:pt x="0" y="1784"/>
                </a:lnTo>
                <a:lnTo>
                  <a:pt x="682" y="1784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1" name="Freeform 7"/>
          <p:cNvSpPr>
            <a:spLocks/>
          </p:cNvSpPr>
          <p:nvPr/>
        </p:nvSpPr>
        <p:spPr bwMode="auto">
          <a:xfrm>
            <a:off x="4000370" y="2155246"/>
            <a:ext cx="1580496" cy="1493059"/>
          </a:xfrm>
          <a:custGeom>
            <a:avLst/>
            <a:gdLst>
              <a:gd name="T0" fmla="*/ 680 w 680"/>
              <a:gd name="T1" fmla="*/ 1377 h 1377"/>
              <a:gd name="T2" fmla="*/ 680 w 680"/>
              <a:gd name="T3" fmla="*/ 239 h 1377"/>
              <a:gd name="T4" fmla="*/ 0 w 680"/>
              <a:gd name="T5" fmla="*/ 0 h 1377"/>
              <a:gd name="T6" fmla="*/ 0 w 680"/>
              <a:gd name="T7" fmla="*/ 1377 h 1377"/>
              <a:gd name="T8" fmla="*/ 680 w 680"/>
              <a:gd name="T9" fmla="*/ 1377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0" h="1377">
                <a:moveTo>
                  <a:pt x="680" y="1377"/>
                </a:moveTo>
                <a:lnTo>
                  <a:pt x="680" y="239"/>
                </a:lnTo>
                <a:lnTo>
                  <a:pt x="0" y="0"/>
                </a:lnTo>
                <a:lnTo>
                  <a:pt x="0" y="1377"/>
                </a:lnTo>
                <a:lnTo>
                  <a:pt x="680" y="1377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2" name="Freeform 9"/>
          <p:cNvSpPr>
            <a:spLocks/>
          </p:cNvSpPr>
          <p:nvPr/>
        </p:nvSpPr>
        <p:spPr bwMode="auto">
          <a:xfrm>
            <a:off x="5734268" y="2565104"/>
            <a:ext cx="1578173" cy="1083200"/>
          </a:xfrm>
          <a:custGeom>
            <a:avLst/>
            <a:gdLst>
              <a:gd name="T0" fmla="*/ 679 w 679"/>
              <a:gd name="T1" fmla="*/ 999 h 999"/>
              <a:gd name="T2" fmla="*/ 679 w 679"/>
              <a:gd name="T3" fmla="*/ 239 h 999"/>
              <a:gd name="T4" fmla="*/ 0 w 679"/>
              <a:gd name="T5" fmla="*/ 0 h 999"/>
              <a:gd name="T6" fmla="*/ 0 w 679"/>
              <a:gd name="T7" fmla="*/ 999 h 999"/>
              <a:gd name="T8" fmla="*/ 679 w 679"/>
              <a:gd name="T9" fmla="*/ 999 h 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9" h="999">
                <a:moveTo>
                  <a:pt x="679" y="999"/>
                </a:moveTo>
                <a:lnTo>
                  <a:pt x="679" y="239"/>
                </a:lnTo>
                <a:lnTo>
                  <a:pt x="0" y="0"/>
                </a:lnTo>
                <a:lnTo>
                  <a:pt x="0" y="999"/>
                </a:lnTo>
                <a:lnTo>
                  <a:pt x="679" y="999"/>
                </a:lnTo>
                <a:close/>
              </a:path>
            </a:pathLst>
          </a:custGeom>
          <a:solidFill>
            <a:srgbClr val="FEA34F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3" name="Freeform 11"/>
          <p:cNvSpPr>
            <a:spLocks/>
          </p:cNvSpPr>
          <p:nvPr/>
        </p:nvSpPr>
        <p:spPr bwMode="auto">
          <a:xfrm>
            <a:off x="7468165" y="2991227"/>
            <a:ext cx="1582821" cy="657076"/>
          </a:xfrm>
          <a:custGeom>
            <a:avLst/>
            <a:gdLst>
              <a:gd name="T0" fmla="*/ 681 w 681"/>
              <a:gd name="T1" fmla="*/ 606 h 606"/>
              <a:gd name="T2" fmla="*/ 681 w 681"/>
              <a:gd name="T3" fmla="*/ 242 h 606"/>
              <a:gd name="T4" fmla="*/ 0 w 681"/>
              <a:gd name="T5" fmla="*/ 0 h 606"/>
              <a:gd name="T6" fmla="*/ 0 w 681"/>
              <a:gd name="T7" fmla="*/ 606 h 606"/>
              <a:gd name="T8" fmla="*/ 681 w 681"/>
              <a:gd name="T9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606">
                <a:moveTo>
                  <a:pt x="681" y="606"/>
                </a:moveTo>
                <a:lnTo>
                  <a:pt x="681" y="242"/>
                </a:lnTo>
                <a:lnTo>
                  <a:pt x="0" y="0"/>
                </a:lnTo>
                <a:lnTo>
                  <a:pt x="0" y="606"/>
                </a:lnTo>
                <a:lnTo>
                  <a:pt x="681" y="606"/>
                </a:lnTo>
                <a:close/>
              </a:path>
            </a:pathLst>
          </a:custGeom>
          <a:solidFill>
            <a:srgbClr val="AAAAAA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4" name="Freeform 12"/>
          <p:cNvSpPr>
            <a:spLocks/>
          </p:cNvSpPr>
          <p:nvPr/>
        </p:nvSpPr>
        <p:spPr bwMode="auto">
          <a:xfrm>
            <a:off x="9206711" y="3363138"/>
            <a:ext cx="729817" cy="285167"/>
          </a:xfrm>
          <a:custGeom>
            <a:avLst/>
            <a:gdLst>
              <a:gd name="T0" fmla="*/ 314 w 314"/>
              <a:gd name="T1" fmla="*/ 263 h 263"/>
              <a:gd name="T2" fmla="*/ 314 w 314"/>
              <a:gd name="T3" fmla="*/ 112 h 263"/>
              <a:gd name="T4" fmla="*/ 0 w 314"/>
              <a:gd name="T5" fmla="*/ 0 h 263"/>
              <a:gd name="T6" fmla="*/ 0 w 314"/>
              <a:gd name="T7" fmla="*/ 263 h 263"/>
              <a:gd name="T8" fmla="*/ 314 w 314"/>
              <a:gd name="T9" fmla="*/ 26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4" h="263">
                <a:moveTo>
                  <a:pt x="314" y="263"/>
                </a:moveTo>
                <a:lnTo>
                  <a:pt x="314" y="112"/>
                </a:lnTo>
                <a:lnTo>
                  <a:pt x="0" y="0"/>
                </a:lnTo>
                <a:lnTo>
                  <a:pt x="0" y="263"/>
                </a:lnTo>
                <a:lnTo>
                  <a:pt x="314" y="263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245" name="Group 244"/>
          <p:cNvGrpSpPr/>
          <p:nvPr/>
        </p:nvGrpSpPr>
        <p:grpSpPr>
          <a:xfrm>
            <a:off x="2825060" y="2451916"/>
            <a:ext cx="458672" cy="458412"/>
            <a:chOff x="1295127" y="2643071"/>
            <a:chExt cx="379068" cy="378853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46" name="Freeform 2131"/>
            <p:cNvSpPr>
              <a:spLocks/>
            </p:cNvSpPr>
            <p:nvPr/>
          </p:nvSpPr>
          <p:spPr bwMode="auto">
            <a:xfrm>
              <a:off x="1457837" y="2980090"/>
              <a:ext cx="55781" cy="13946"/>
            </a:xfrm>
            <a:custGeom>
              <a:avLst/>
              <a:gdLst>
                <a:gd name="T0" fmla="*/ 105 w 120"/>
                <a:gd name="T1" fmla="*/ 0 h 29"/>
                <a:gd name="T2" fmla="*/ 14 w 120"/>
                <a:gd name="T3" fmla="*/ 0 h 29"/>
                <a:gd name="T4" fmla="*/ 8 w 120"/>
                <a:gd name="T5" fmla="*/ 1 h 29"/>
                <a:gd name="T6" fmla="*/ 3 w 120"/>
                <a:gd name="T7" fmla="*/ 4 h 29"/>
                <a:gd name="T8" fmla="*/ 1 w 120"/>
                <a:gd name="T9" fmla="*/ 9 h 29"/>
                <a:gd name="T10" fmla="*/ 0 w 120"/>
                <a:gd name="T11" fmla="*/ 15 h 29"/>
                <a:gd name="T12" fmla="*/ 1 w 120"/>
                <a:gd name="T13" fmla="*/ 21 h 29"/>
                <a:gd name="T14" fmla="*/ 3 w 120"/>
                <a:gd name="T15" fmla="*/ 26 h 29"/>
                <a:gd name="T16" fmla="*/ 8 w 120"/>
                <a:gd name="T17" fmla="*/ 28 h 29"/>
                <a:gd name="T18" fmla="*/ 14 w 120"/>
                <a:gd name="T19" fmla="*/ 29 h 29"/>
                <a:gd name="T20" fmla="*/ 105 w 120"/>
                <a:gd name="T21" fmla="*/ 29 h 29"/>
                <a:gd name="T22" fmla="*/ 111 w 120"/>
                <a:gd name="T23" fmla="*/ 28 h 29"/>
                <a:gd name="T24" fmla="*/ 116 w 120"/>
                <a:gd name="T25" fmla="*/ 26 h 29"/>
                <a:gd name="T26" fmla="*/ 118 w 120"/>
                <a:gd name="T27" fmla="*/ 21 h 29"/>
                <a:gd name="T28" fmla="*/ 120 w 120"/>
                <a:gd name="T29" fmla="*/ 15 h 29"/>
                <a:gd name="T30" fmla="*/ 118 w 120"/>
                <a:gd name="T31" fmla="*/ 9 h 29"/>
                <a:gd name="T32" fmla="*/ 116 w 120"/>
                <a:gd name="T33" fmla="*/ 4 h 29"/>
                <a:gd name="T34" fmla="*/ 111 w 120"/>
                <a:gd name="T35" fmla="*/ 1 h 29"/>
                <a:gd name="T36" fmla="*/ 105 w 12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29">
                  <a:moveTo>
                    <a:pt x="105" y="0"/>
                  </a:moveTo>
                  <a:lnTo>
                    <a:pt x="14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3" y="26"/>
                  </a:lnTo>
                  <a:lnTo>
                    <a:pt x="8" y="28"/>
                  </a:lnTo>
                  <a:lnTo>
                    <a:pt x="14" y="29"/>
                  </a:lnTo>
                  <a:lnTo>
                    <a:pt x="105" y="29"/>
                  </a:lnTo>
                  <a:lnTo>
                    <a:pt x="111" y="28"/>
                  </a:lnTo>
                  <a:lnTo>
                    <a:pt x="116" y="26"/>
                  </a:lnTo>
                  <a:lnTo>
                    <a:pt x="118" y="21"/>
                  </a:lnTo>
                  <a:lnTo>
                    <a:pt x="120" y="15"/>
                  </a:lnTo>
                  <a:lnTo>
                    <a:pt x="118" y="9"/>
                  </a:lnTo>
                  <a:lnTo>
                    <a:pt x="116" y="4"/>
                  </a:lnTo>
                  <a:lnTo>
                    <a:pt x="111" y="1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47" name="Freeform 2132"/>
            <p:cNvSpPr>
              <a:spLocks/>
            </p:cNvSpPr>
            <p:nvPr/>
          </p:nvSpPr>
          <p:spPr bwMode="auto">
            <a:xfrm>
              <a:off x="1471783" y="3007978"/>
              <a:ext cx="27891" cy="13946"/>
            </a:xfrm>
            <a:custGeom>
              <a:avLst/>
              <a:gdLst>
                <a:gd name="T0" fmla="*/ 45 w 61"/>
                <a:gd name="T1" fmla="*/ 0 h 30"/>
                <a:gd name="T2" fmla="*/ 16 w 61"/>
                <a:gd name="T3" fmla="*/ 0 h 30"/>
                <a:gd name="T4" fmla="*/ 10 w 61"/>
                <a:gd name="T5" fmla="*/ 1 h 30"/>
                <a:gd name="T6" fmla="*/ 5 w 61"/>
                <a:gd name="T7" fmla="*/ 5 h 30"/>
                <a:gd name="T8" fmla="*/ 1 w 61"/>
                <a:gd name="T9" fmla="*/ 8 h 30"/>
                <a:gd name="T10" fmla="*/ 0 w 61"/>
                <a:gd name="T11" fmla="*/ 14 h 30"/>
                <a:gd name="T12" fmla="*/ 1 w 61"/>
                <a:gd name="T13" fmla="*/ 21 h 30"/>
                <a:gd name="T14" fmla="*/ 5 w 61"/>
                <a:gd name="T15" fmla="*/ 25 h 30"/>
                <a:gd name="T16" fmla="*/ 10 w 61"/>
                <a:gd name="T17" fmla="*/ 29 h 30"/>
                <a:gd name="T18" fmla="*/ 16 w 61"/>
                <a:gd name="T19" fmla="*/ 30 h 30"/>
                <a:gd name="T20" fmla="*/ 45 w 61"/>
                <a:gd name="T21" fmla="*/ 30 h 30"/>
                <a:gd name="T22" fmla="*/ 51 w 61"/>
                <a:gd name="T23" fmla="*/ 29 h 30"/>
                <a:gd name="T24" fmla="*/ 56 w 61"/>
                <a:gd name="T25" fmla="*/ 25 h 30"/>
                <a:gd name="T26" fmla="*/ 60 w 61"/>
                <a:gd name="T27" fmla="*/ 21 h 30"/>
                <a:gd name="T28" fmla="*/ 61 w 61"/>
                <a:gd name="T29" fmla="*/ 14 h 30"/>
                <a:gd name="T30" fmla="*/ 60 w 61"/>
                <a:gd name="T31" fmla="*/ 8 h 30"/>
                <a:gd name="T32" fmla="*/ 56 w 61"/>
                <a:gd name="T33" fmla="*/ 5 h 30"/>
                <a:gd name="T34" fmla="*/ 51 w 61"/>
                <a:gd name="T35" fmla="*/ 1 h 30"/>
                <a:gd name="T36" fmla="*/ 45 w 61"/>
                <a:gd name="T3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30">
                  <a:moveTo>
                    <a:pt x="45" y="0"/>
                  </a:moveTo>
                  <a:lnTo>
                    <a:pt x="16" y="0"/>
                  </a:lnTo>
                  <a:lnTo>
                    <a:pt x="10" y="1"/>
                  </a:lnTo>
                  <a:lnTo>
                    <a:pt x="5" y="5"/>
                  </a:lnTo>
                  <a:lnTo>
                    <a:pt x="1" y="8"/>
                  </a:lnTo>
                  <a:lnTo>
                    <a:pt x="0" y="14"/>
                  </a:lnTo>
                  <a:lnTo>
                    <a:pt x="1" y="21"/>
                  </a:lnTo>
                  <a:lnTo>
                    <a:pt x="5" y="25"/>
                  </a:lnTo>
                  <a:lnTo>
                    <a:pt x="10" y="29"/>
                  </a:lnTo>
                  <a:lnTo>
                    <a:pt x="16" y="30"/>
                  </a:lnTo>
                  <a:lnTo>
                    <a:pt x="45" y="30"/>
                  </a:lnTo>
                  <a:lnTo>
                    <a:pt x="51" y="29"/>
                  </a:lnTo>
                  <a:lnTo>
                    <a:pt x="56" y="25"/>
                  </a:lnTo>
                  <a:lnTo>
                    <a:pt x="60" y="21"/>
                  </a:lnTo>
                  <a:lnTo>
                    <a:pt x="61" y="14"/>
                  </a:lnTo>
                  <a:lnTo>
                    <a:pt x="60" y="8"/>
                  </a:lnTo>
                  <a:lnTo>
                    <a:pt x="56" y="5"/>
                  </a:lnTo>
                  <a:lnTo>
                    <a:pt x="51" y="1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48" name="Freeform 2133"/>
            <p:cNvSpPr>
              <a:spLocks/>
            </p:cNvSpPr>
            <p:nvPr/>
          </p:nvSpPr>
          <p:spPr bwMode="auto">
            <a:xfrm>
              <a:off x="1367192" y="2705826"/>
              <a:ext cx="237074" cy="260316"/>
            </a:xfrm>
            <a:custGeom>
              <a:avLst/>
              <a:gdLst>
                <a:gd name="T0" fmla="*/ 242 w 511"/>
                <a:gd name="T1" fmla="*/ 1 h 556"/>
                <a:gd name="T2" fmla="*/ 217 w 511"/>
                <a:gd name="T3" fmla="*/ 3 h 556"/>
                <a:gd name="T4" fmla="*/ 192 w 511"/>
                <a:gd name="T5" fmla="*/ 8 h 556"/>
                <a:gd name="T6" fmla="*/ 168 w 511"/>
                <a:gd name="T7" fmla="*/ 15 h 556"/>
                <a:gd name="T8" fmla="*/ 134 w 511"/>
                <a:gd name="T9" fmla="*/ 31 h 556"/>
                <a:gd name="T10" fmla="*/ 93 w 511"/>
                <a:gd name="T11" fmla="*/ 58 h 556"/>
                <a:gd name="T12" fmla="*/ 59 w 511"/>
                <a:gd name="T13" fmla="*/ 94 h 556"/>
                <a:gd name="T14" fmla="*/ 31 w 511"/>
                <a:gd name="T15" fmla="*/ 134 h 556"/>
                <a:gd name="T16" fmla="*/ 15 w 511"/>
                <a:gd name="T17" fmla="*/ 168 h 556"/>
                <a:gd name="T18" fmla="*/ 8 w 511"/>
                <a:gd name="T19" fmla="*/ 191 h 556"/>
                <a:gd name="T20" fmla="*/ 3 w 511"/>
                <a:gd name="T21" fmla="*/ 217 h 556"/>
                <a:gd name="T22" fmla="*/ 0 w 511"/>
                <a:gd name="T23" fmla="*/ 243 h 556"/>
                <a:gd name="T24" fmla="*/ 0 w 511"/>
                <a:gd name="T25" fmla="*/ 277 h 556"/>
                <a:gd name="T26" fmla="*/ 8 w 511"/>
                <a:gd name="T27" fmla="*/ 317 h 556"/>
                <a:gd name="T28" fmla="*/ 20 w 511"/>
                <a:gd name="T29" fmla="*/ 355 h 556"/>
                <a:gd name="T30" fmla="*/ 39 w 511"/>
                <a:gd name="T31" fmla="*/ 392 h 556"/>
                <a:gd name="T32" fmla="*/ 63 w 511"/>
                <a:gd name="T33" fmla="*/ 423 h 556"/>
                <a:gd name="T34" fmla="*/ 91 w 511"/>
                <a:gd name="T35" fmla="*/ 451 h 556"/>
                <a:gd name="T36" fmla="*/ 124 w 511"/>
                <a:gd name="T37" fmla="*/ 475 h 556"/>
                <a:gd name="T38" fmla="*/ 160 w 511"/>
                <a:gd name="T39" fmla="*/ 493 h 556"/>
                <a:gd name="T40" fmla="*/ 180 w 511"/>
                <a:gd name="T41" fmla="*/ 542 h 556"/>
                <a:gd name="T42" fmla="*/ 185 w 511"/>
                <a:gd name="T43" fmla="*/ 552 h 556"/>
                <a:gd name="T44" fmla="*/ 196 w 511"/>
                <a:gd name="T45" fmla="*/ 556 h 556"/>
                <a:gd name="T46" fmla="*/ 322 w 511"/>
                <a:gd name="T47" fmla="*/ 555 h 556"/>
                <a:gd name="T48" fmla="*/ 330 w 511"/>
                <a:gd name="T49" fmla="*/ 547 h 556"/>
                <a:gd name="T50" fmla="*/ 331 w 511"/>
                <a:gd name="T51" fmla="*/ 500 h 556"/>
                <a:gd name="T52" fmla="*/ 369 w 511"/>
                <a:gd name="T53" fmla="*/ 484 h 556"/>
                <a:gd name="T54" fmla="*/ 405 w 511"/>
                <a:gd name="T55" fmla="*/ 464 h 556"/>
                <a:gd name="T56" fmla="*/ 435 w 511"/>
                <a:gd name="T57" fmla="*/ 438 h 556"/>
                <a:gd name="T58" fmla="*/ 461 w 511"/>
                <a:gd name="T59" fmla="*/ 407 h 556"/>
                <a:gd name="T60" fmla="*/ 483 w 511"/>
                <a:gd name="T61" fmla="*/ 373 h 556"/>
                <a:gd name="T62" fmla="*/ 499 w 511"/>
                <a:gd name="T63" fmla="*/ 337 h 556"/>
                <a:gd name="T64" fmla="*/ 508 w 511"/>
                <a:gd name="T65" fmla="*/ 298 h 556"/>
                <a:gd name="T66" fmla="*/ 511 w 511"/>
                <a:gd name="T67" fmla="*/ 256 h 556"/>
                <a:gd name="T68" fmla="*/ 510 w 511"/>
                <a:gd name="T69" fmla="*/ 229 h 556"/>
                <a:gd name="T70" fmla="*/ 506 w 511"/>
                <a:gd name="T71" fmla="*/ 205 h 556"/>
                <a:gd name="T72" fmla="*/ 500 w 511"/>
                <a:gd name="T73" fmla="*/ 179 h 556"/>
                <a:gd name="T74" fmla="*/ 491 w 511"/>
                <a:gd name="T75" fmla="*/ 156 h 556"/>
                <a:gd name="T76" fmla="*/ 468 w 511"/>
                <a:gd name="T77" fmla="*/ 113 h 556"/>
                <a:gd name="T78" fmla="*/ 436 w 511"/>
                <a:gd name="T79" fmla="*/ 75 h 556"/>
                <a:gd name="T80" fmla="*/ 399 w 511"/>
                <a:gd name="T81" fmla="*/ 44 h 556"/>
                <a:gd name="T82" fmla="*/ 355 w 511"/>
                <a:gd name="T83" fmla="*/ 20 h 556"/>
                <a:gd name="T84" fmla="*/ 331 w 511"/>
                <a:gd name="T85" fmla="*/ 12 h 556"/>
                <a:gd name="T86" fmla="*/ 307 w 511"/>
                <a:gd name="T87" fmla="*/ 6 h 556"/>
                <a:gd name="T88" fmla="*/ 281 w 511"/>
                <a:gd name="T89" fmla="*/ 1 h 556"/>
                <a:gd name="T90" fmla="*/ 256 w 511"/>
                <a:gd name="T91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1" h="556">
                  <a:moveTo>
                    <a:pt x="256" y="0"/>
                  </a:moveTo>
                  <a:lnTo>
                    <a:pt x="242" y="1"/>
                  </a:lnTo>
                  <a:lnTo>
                    <a:pt x="230" y="1"/>
                  </a:lnTo>
                  <a:lnTo>
                    <a:pt x="217" y="3"/>
                  </a:lnTo>
                  <a:lnTo>
                    <a:pt x="204" y="6"/>
                  </a:lnTo>
                  <a:lnTo>
                    <a:pt x="192" y="8"/>
                  </a:lnTo>
                  <a:lnTo>
                    <a:pt x="180" y="12"/>
                  </a:lnTo>
                  <a:lnTo>
                    <a:pt x="168" y="15"/>
                  </a:lnTo>
                  <a:lnTo>
                    <a:pt x="157" y="20"/>
                  </a:lnTo>
                  <a:lnTo>
                    <a:pt x="134" y="31"/>
                  </a:lnTo>
                  <a:lnTo>
                    <a:pt x="113" y="44"/>
                  </a:lnTo>
                  <a:lnTo>
                    <a:pt x="93" y="58"/>
                  </a:lnTo>
                  <a:lnTo>
                    <a:pt x="75" y="75"/>
                  </a:lnTo>
                  <a:lnTo>
                    <a:pt x="59" y="94"/>
                  </a:lnTo>
                  <a:lnTo>
                    <a:pt x="43" y="113"/>
                  </a:lnTo>
                  <a:lnTo>
                    <a:pt x="31" y="134"/>
                  </a:lnTo>
                  <a:lnTo>
                    <a:pt x="20" y="156"/>
                  </a:lnTo>
                  <a:lnTo>
                    <a:pt x="15" y="168"/>
                  </a:lnTo>
                  <a:lnTo>
                    <a:pt x="11" y="179"/>
                  </a:lnTo>
                  <a:lnTo>
                    <a:pt x="8" y="191"/>
                  </a:lnTo>
                  <a:lnTo>
                    <a:pt x="5" y="205"/>
                  </a:lnTo>
                  <a:lnTo>
                    <a:pt x="3" y="217"/>
                  </a:lnTo>
                  <a:lnTo>
                    <a:pt x="2" y="229"/>
                  </a:lnTo>
                  <a:lnTo>
                    <a:pt x="0" y="243"/>
                  </a:lnTo>
                  <a:lnTo>
                    <a:pt x="0" y="256"/>
                  </a:lnTo>
                  <a:lnTo>
                    <a:pt x="0" y="277"/>
                  </a:lnTo>
                  <a:lnTo>
                    <a:pt x="3" y="298"/>
                  </a:lnTo>
                  <a:lnTo>
                    <a:pt x="8" y="317"/>
                  </a:lnTo>
                  <a:lnTo>
                    <a:pt x="13" y="337"/>
                  </a:lnTo>
                  <a:lnTo>
                    <a:pt x="20" y="355"/>
                  </a:lnTo>
                  <a:lnTo>
                    <a:pt x="28" y="373"/>
                  </a:lnTo>
                  <a:lnTo>
                    <a:pt x="39" y="392"/>
                  </a:lnTo>
                  <a:lnTo>
                    <a:pt x="50" y="407"/>
                  </a:lnTo>
                  <a:lnTo>
                    <a:pt x="63" y="423"/>
                  </a:lnTo>
                  <a:lnTo>
                    <a:pt x="76" y="438"/>
                  </a:lnTo>
                  <a:lnTo>
                    <a:pt x="91" y="451"/>
                  </a:lnTo>
                  <a:lnTo>
                    <a:pt x="107" y="464"/>
                  </a:lnTo>
                  <a:lnTo>
                    <a:pt x="124" y="475"/>
                  </a:lnTo>
                  <a:lnTo>
                    <a:pt x="142" y="484"/>
                  </a:lnTo>
                  <a:lnTo>
                    <a:pt x="160" y="493"/>
                  </a:lnTo>
                  <a:lnTo>
                    <a:pt x="180" y="500"/>
                  </a:lnTo>
                  <a:lnTo>
                    <a:pt x="180" y="542"/>
                  </a:lnTo>
                  <a:lnTo>
                    <a:pt x="181" y="547"/>
                  </a:lnTo>
                  <a:lnTo>
                    <a:pt x="185" y="552"/>
                  </a:lnTo>
                  <a:lnTo>
                    <a:pt x="190" y="555"/>
                  </a:lnTo>
                  <a:lnTo>
                    <a:pt x="196" y="556"/>
                  </a:lnTo>
                  <a:lnTo>
                    <a:pt x="316" y="556"/>
                  </a:lnTo>
                  <a:lnTo>
                    <a:pt x="322" y="555"/>
                  </a:lnTo>
                  <a:lnTo>
                    <a:pt x="327" y="552"/>
                  </a:lnTo>
                  <a:lnTo>
                    <a:pt x="330" y="547"/>
                  </a:lnTo>
                  <a:lnTo>
                    <a:pt x="331" y="542"/>
                  </a:lnTo>
                  <a:lnTo>
                    <a:pt x="331" y="500"/>
                  </a:lnTo>
                  <a:lnTo>
                    <a:pt x="351" y="493"/>
                  </a:lnTo>
                  <a:lnTo>
                    <a:pt x="369" y="484"/>
                  </a:lnTo>
                  <a:lnTo>
                    <a:pt x="388" y="475"/>
                  </a:lnTo>
                  <a:lnTo>
                    <a:pt x="405" y="464"/>
                  </a:lnTo>
                  <a:lnTo>
                    <a:pt x="421" y="451"/>
                  </a:lnTo>
                  <a:lnTo>
                    <a:pt x="435" y="438"/>
                  </a:lnTo>
                  <a:lnTo>
                    <a:pt x="449" y="423"/>
                  </a:lnTo>
                  <a:lnTo>
                    <a:pt x="461" y="407"/>
                  </a:lnTo>
                  <a:lnTo>
                    <a:pt x="473" y="392"/>
                  </a:lnTo>
                  <a:lnTo>
                    <a:pt x="483" y="373"/>
                  </a:lnTo>
                  <a:lnTo>
                    <a:pt x="491" y="355"/>
                  </a:lnTo>
                  <a:lnTo>
                    <a:pt x="499" y="337"/>
                  </a:lnTo>
                  <a:lnTo>
                    <a:pt x="504" y="317"/>
                  </a:lnTo>
                  <a:lnTo>
                    <a:pt x="508" y="298"/>
                  </a:lnTo>
                  <a:lnTo>
                    <a:pt x="511" y="277"/>
                  </a:lnTo>
                  <a:lnTo>
                    <a:pt x="511" y="256"/>
                  </a:lnTo>
                  <a:lnTo>
                    <a:pt x="511" y="243"/>
                  </a:lnTo>
                  <a:lnTo>
                    <a:pt x="510" y="229"/>
                  </a:lnTo>
                  <a:lnTo>
                    <a:pt x="508" y="217"/>
                  </a:lnTo>
                  <a:lnTo>
                    <a:pt x="506" y="205"/>
                  </a:lnTo>
                  <a:lnTo>
                    <a:pt x="504" y="191"/>
                  </a:lnTo>
                  <a:lnTo>
                    <a:pt x="500" y="179"/>
                  </a:lnTo>
                  <a:lnTo>
                    <a:pt x="496" y="168"/>
                  </a:lnTo>
                  <a:lnTo>
                    <a:pt x="491" y="156"/>
                  </a:lnTo>
                  <a:lnTo>
                    <a:pt x="480" y="134"/>
                  </a:lnTo>
                  <a:lnTo>
                    <a:pt x="468" y="113"/>
                  </a:lnTo>
                  <a:lnTo>
                    <a:pt x="452" y="94"/>
                  </a:lnTo>
                  <a:lnTo>
                    <a:pt x="436" y="75"/>
                  </a:lnTo>
                  <a:lnTo>
                    <a:pt x="418" y="58"/>
                  </a:lnTo>
                  <a:lnTo>
                    <a:pt x="399" y="44"/>
                  </a:lnTo>
                  <a:lnTo>
                    <a:pt x="378" y="31"/>
                  </a:lnTo>
                  <a:lnTo>
                    <a:pt x="355" y="20"/>
                  </a:lnTo>
                  <a:lnTo>
                    <a:pt x="344" y="15"/>
                  </a:lnTo>
                  <a:lnTo>
                    <a:pt x="331" y="12"/>
                  </a:lnTo>
                  <a:lnTo>
                    <a:pt x="319" y="8"/>
                  </a:lnTo>
                  <a:lnTo>
                    <a:pt x="307" y="6"/>
                  </a:lnTo>
                  <a:lnTo>
                    <a:pt x="295" y="3"/>
                  </a:lnTo>
                  <a:lnTo>
                    <a:pt x="281" y="1"/>
                  </a:lnTo>
                  <a:lnTo>
                    <a:pt x="269" y="1"/>
                  </a:lnTo>
                  <a:lnTo>
                    <a:pt x="2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49" name="Freeform 2134"/>
            <p:cNvSpPr>
              <a:spLocks/>
            </p:cNvSpPr>
            <p:nvPr/>
          </p:nvSpPr>
          <p:spPr bwMode="auto">
            <a:xfrm>
              <a:off x="1295127" y="2810415"/>
              <a:ext cx="41837" cy="16271"/>
            </a:xfrm>
            <a:custGeom>
              <a:avLst/>
              <a:gdLst>
                <a:gd name="T0" fmla="*/ 76 w 90"/>
                <a:gd name="T1" fmla="*/ 0 h 31"/>
                <a:gd name="T2" fmla="*/ 16 w 90"/>
                <a:gd name="T3" fmla="*/ 0 h 31"/>
                <a:gd name="T4" fmla="*/ 10 w 90"/>
                <a:gd name="T5" fmla="*/ 2 h 31"/>
                <a:gd name="T6" fmla="*/ 5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5 w 90"/>
                <a:gd name="T15" fmla="*/ 26 h 31"/>
                <a:gd name="T16" fmla="*/ 10 w 90"/>
                <a:gd name="T17" fmla="*/ 30 h 31"/>
                <a:gd name="T18" fmla="*/ 16 w 90"/>
                <a:gd name="T19" fmla="*/ 31 h 31"/>
                <a:gd name="T20" fmla="*/ 76 w 90"/>
                <a:gd name="T21" fmla="*/ 31 h 31"/>
                <a:gd name="T22" fmla="*/ 82 w 90"/>
                <a:gd name="T23" fmla="*/ 30 h 31"/>
                <a:gd name="T24" fmla="*/ 87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7 w 90"/>
                <a:gd name="T33" fmla="*/ 5 h 31"/>
                <a:gd name="T34" fmla="*/ 82 w 90"/>
                <a:gd name="T35" fmla="*/ 2 h 31"/>
                <a:gd name="T36" fmla="*/ 76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6" y="0"/>
                  </a:move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10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82" y="30"/>
                  </a:lnTo>
                  <a:lnTo>
                    <a:pt x="87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7" y="5"/>
                  </a:lnTo>
                  <a:lnTo>
                    <a:pt x="82" y="2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50" name="Freeform 2135"/>
            <p:cNvSpPr>
              <a:spLocks/>
            </p:cNvSpPr>
            <p:nvPr/>
          </p:nvSpPr>
          <p:spPr bwMode="auto">
            <a:xfrm>
              <a:off x="1336977" y="2684907"/>
              <a:ext cx="51134" cy="51134"/>
            </a:xfrm>
            <a:custGeom>
              <a:avLst/>
              <a:gdLst>
                <a:gd name="T0" fmla="*/ 91 w 107"/>
                <a:gd name="T1" fmla="*/ 107 h 107"/>
                <a:gd name="T2" fmla="*/ 97 w 107"/>
                <a:gd name="T3" fmla="*/ 105 h 107"/>
                <a:gd name="T4" fmla="*/ 102 w 107"/>
                <a:gd name="T5" fmla="*/ 102 h 107"/>
                <a:gd name="T6" fmla="*/ 105 w 107"/>
                <a:gd name="T7" fmla="*/ 97 h 107"/>
                <a:gd name="T8" fmla="*/ 107 w 107"/>
                <a:gd name="T9" fmla="*/ 91 h 107"/>
                <a:gd name="T10" fmla="*/ 105 w 107"/>
                <a:gd name="T11" fmla="*/ 86 h 107"/>
                <a:gd name="T12" fmla="*/ 102 w 107"/>
                <a:gd name="T13" fmla="*/ 81 h 107"/>
                <a:gd name="T14" fmla="*/ 26 w 107"/>
                <a:gd name="T15" fmla="*/ 5 h 107"/>
                <a:gd name="T16" fmla="*/ 21 w 107"/>
                <a:gd name="T17" fmla="*/ 2 h 107"/>
                <a:gd name="T18" fmla="*/ 16 w 107"/>
                <a:gd name="T19" fmla="*/ 0 h 107"/>
                <a:gd name="T20" fmla="*/ 10 w 107"/>
                <a:gd name="T21" fmla="*/ 2 h 107"/>
                <a:gd name="T22" fmla="*/ 5 w 107"/>
                <a:gd name="T23" fmla="*/ 5 h 107"/>
                <a:gd name="T24" fmla="*/ 2 w 107"/>
                <a:gd name="T25" fmla="*/ 10 h 107"/>
                <a:gd name="T26" fmla="*/ 0 w 107"/>
                <a:gd name="T27" fmla="*/ 16 h 107"/>
                <a:gd name="T28" fmla="*/ 2 w 107"/>
                <a:gd name="T29" fmla="*/ 21 h 107"/>
                <a:gd name="T30" fmla="*/ 5 w 107"/>
                <a:gd name="T31" fmla="*/ 26 h 107"/>
                <a:gd name="T32" fmla="*/ 81 w 107"/>
                <a:gd name="T33" fmla="*/ 102 h 107"/>
                <a:gd name="T34" fmla="*/ 86 w 107"/>
                <a:gd name="T35" fmla="*/ 105 h 107"/>
                <a:gd name="T36" fmla="*/ 91 w 107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07">
                  <a:moveTo>
                    <a:pt x="91" y="107"/>
                  </a:moveTo>
                  <a:lnTo>
                    <a:pt x="97" y="105"/>
                  </a:lnTo>
                  <a:lnTo>
                    <a:pt x="102" y="102"/>
                  </a:lnTo>
                  <a:lnTo>
                    <a:pt x="105" y="97"/>
                  </a:lnTo>
                  <a:lnTo>
                    <a:pt x="107" y="91"/>
                  </a:lnTo>
                  <a:lnTo>
                    <a:pt x="105" y="86"/>
                  </a:lnTo>
                  <a:lnTo>
                    <a:pt x="102" y="81"/>
                  </a:lnTo>
                  <a:lnTo>
                    <a:pt x="26" y="5"/>
                  </a:lnTo>
                  <a:lnTo>
                    <a:pt x="21" y="2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81" y="102"/>
                  </a:lnTo>
                  <a:lnTo>
                    <a:pt x="86" y="105"/>
                  </a:lnTo>
                  <a:lnTo>
                    <a:pt x="9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51" name="Freeform 2136"/>
            <p:cNvSpPr>
              <a:spLocks/>
            </p:cNvSpPr>
            <p:nvPr/>
          </p:nvSpPr>
          <p:spPr bwMode="auto">
            <a:xfrm>
              <a:off x="1478746" y="2643071"/>
              <a:ext cx="13946" cy="41836"/>
            </a:xfrm>
            <a:custGeom>
              <a:avLst/>
              <a:gdLst>
                <a:gd name="T0" fmla="*/ 15 w 29"/>
                <a:gd name="T1" fmla="*/ 90 h 90"/>
                <a:gd name="T2" fmla="*/ 21 w 29"/>
                <a:gd name="T3" fmla="*/ 89 h 90"/>
                <a:gd name="T4" fmla="*/ 26 w 29"/>
                <a:gd name="T5" fmla="*/ 87 h 90"/>
                <a:gd name="T6" fmla="*/ 28 w 29"/>
                <a:gd name="T7" fmla="*/ 82 h 90"/>
                <a:gd name="T8" fmla="*/ 29 w 29"/>
                <a:gd name="T9" fmla="*/ 76 h 90"/>
                <a:gd name="T10" fmla="*/ 29 w 29"/>
                <a:gd name="T11" fmla="*/ 16 h 90"/>
                <a:gd name="T12" fmla="*/ 28 w 29"/>
                <a:gd name="T13" fmla="*/ 10 h 90"/>
                <a:gd name="T14" fmla="*/ 26 w 29"/>
                <a:gd name="T15" fmla="*/ 5 h 90"/>
                <a:gd name="T16" fmla="*/ 21 w 29"/>
                <a:gd name="T17" fmla="*/ 1 h 90"/>
                <a:gd name="T18" fmla="*/ 15 w 29"/>
                <a:gd name="T19" fmla="*/ 0 h 90"/>
                <a:gd name="T20" fmla="*/ 9 w 29"/>
                <a:gd name="T21" fmla="*/ 1 h 90"/>
                <a:gd name="T22" fmla="*/ 4 w 29"/>
                <a:gd name="T23" fmla="*/ 5 h 90"/>
                <a:gd name="T24" fmla="*/ 1 w 29"/>
                <a:gd name="T25" fmla="*/ 10 h 90"/>
                <a:gd name="T26" fmla="*/ 0 w 29"/>
                <a:gd name="T27" fmla="*/ 16 h 90"/>
                <a:gd name="T28" fmla="*/ 0 w 29"/>
                <a:gd name="T29" fmla="*/ 76 h 90"/>
                <a:gd name="T30" fmla="*/ 1 w 29"/>
                <a:gd name="T31" fmla="*/ 82 h 90"/>
                <a:gd name="T32" fmla="*/ 4 w 29"/>
                <a:gd name="T33" fmla="*/ 87 h 90"/>
                <a:gd name="T34" fmla="*/ 9 w 29"/>
                <a:gd name="T35" fmla="*/ 89 h 90"/>
                <a:gd name="T36" fmla="*/ 15 w 29"/>
                <a:gd name="T3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90">
                  <a:moveTo>
                    <a:pt x="15" y="90"/>
                  </a:moveTo>
                  <a:lnTo>
                    <a:pt x="21" y="89"/>
                  </a:lnTo>
                  <a:lnTo>
                    <a:pt x="26" y="87"/>
                  </a:lnTo>
                  <a:lnTo>
                    <a:pt x="28" y="82"/>
                  </a:lnTo>
                  <a:lnTo>
                    <a:pt x="29" y="76"/>
                  </a:lnTo>
                  <a:lnTo>
                    <a:pt x="29" y="16"/>
                  </a:lnTo>
                  <a:lnTo>
                    <a:pt x="28" y="10"/>
                  </a:lnTo>
                  <a:lnTo>
                    <a:pt x="26" y="5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76"/>
                  </a:lnTo>
                  <a:lnTo>
                    <a:pt x="1" y="82"/>
                  </a:lnTo>
                  <a:lnTo>
                    <a:pt x="4" y="87"/>
                  </a:lnTo>
                  <a:lnTo>
                    <a:pt x="9" y="89"/>
                  </a:lnTo>
                  <a:lnTo>
                    <a:pt x="1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52" name="Freeform 2137"/>
            <p:cNvSpPr>
              <a:spLocks/>
            </p:cNvSpPr>
            <p:nvPr/>
          </p:nvSpPr>
          <p:spPr bwMode="auto">
            <a:xfrm>
              <a:off x="1583373" y="2684912"/>
              <a:ext cx="48811" cy="51134"/>
            </a:xfrm>
            <a:custGeom>
              <a:avLst/>
              <a:gdLst>
                <a:gd name="T0" fmla="*/ 101 w 106"/>
                <a:gd name="T1" fmla="*/ 5 h 107"/>
                <a:gd name="T2" fmla="*/ 96 w 106"/>
                <a:gd name="T3" fmla="*/ 2 h 107"/>
                <a:gd name="T4" fmla="*/ 90 w 106"/>
                <a:gd name="T5" fmla="*/ 0 h 107"/>
                <a:gd name="T6" fmla="*/ 85 w 106"/>
                <a:gd name="T7" fmla="*/ 2 h 107"/>
                <a:gd name="T8" fmla="*/ 80 w 106"/>
                <a:gd name="T9" fmla="*/ 5 h 107"/>
                <a:gd name="T10" fmla="*/ 5 w 106"/>
                <a:gd name="T11" fmla="*/ 80 h 107"/>
                <a:gd name="T12" fmla="*/ 1 w 106"/>
                <a:gd name="T13" fmla="*/ 86 h 107"/>
                <a:gd name="T14" fmla="*/ 0 w 106"/>
                <a:gd name="T15" fmla="*/ 91 h 107"/>
                <a:gd name="T16" fmla="*/ 1 w 106"/>
                <a:gd name="T17" fmla="*/ 97 h 107"/>
                <a:gd name="T18" fmla="*/ 5 w 106"/>
                <a:gd name="T19" fmla="*/ 102 h 107"/>
                <a:gd name="T20" fmla="*/ 10 w 106"/>
                <a:gd name="T21" fmla="*/ 105 h 107"/>
                <a:gd name="T22" fmla="*/ 16 w 106"/>
                <a:gd name="T23" fmla="*/ 107 h 107"/>
                <a:gd name="T24" fmla="*/ 21 w 106"/>
                <a:gd name="T25" fmla="*/ 105 h 107"/>
                <a:gd name="T26" fmla="*/ 25 w 106"/>
                <a:gd name="T27" fmla="*/ 102 h 107"/>
                <a:gd name="T28" fmla="*/ 101 w 106"/>
                <a:gd name="T29" fmla="*/ 26 h 107"/>
                <a:gd name="T30" fmla="*/ 105 w 106"/>
                <a:gd name="T31" fmla="*/ 21 h 107"/>
                <a:gd name="T32" fmla="*/ 106 w 106"/>
                <a:gd name="T33" fmla="*/ 16 h 107"/>
                <a:gd name="T34" fmla="*/ 105 w 106"/>
                <a:gd name="T35" fmla="*/ 10 h 107"/>
                <a:gd name="T36" fmla="*/ 101 w 106"/>
                <a:gd name="T37" fmla="*/ 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6" h="107">
                  <a:moveTo>
                    <a:pt x="101" y="5"/>
                  </a:moveTo>
                  <a:lnTo>
                    <a:pt x="96" y="2"/>
                  </a:lnTo>
                  <a:lnTo>
                    <a:pt x="90" y="0"/>
                  </a:lnTo>
                  <a:lnTo>
                    <a:pt x="85" y="2"/>
                  </a:lnTo>
                  <a:lnTo>
                    <a:pt x="80" y="5"/>
                  </a:lnTo>
                  <a:lnTo>
                    <a:pt x="5" y="80"/>
                  </a:lnTo>
                  <a:lnTo>
                    <a:pt x="1" y="86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5" y="102"/>
                  </a:lnTo>
                  <a:lnTo>
                    <a:pt x="10" y="105"/>
                  </a:lnTo>
                  <a:lnTo>
                    <a:pt x="16" y="107"/>
                  </a:lnTo>
                  <a:lnTo>
                    <a:pt x="21" y="105"/>
                  </a:lnTo>
                  <a:lnTo>
                    <a:pt x="25" y="102"/>
                  </a:lnTo>
                  <a:lnTo>
                    <a:pt x="101" y="26"/>
                  </a:lnTo>
                  <a:lnTo>
                    <a:pt x="105" y="21"/>
                  </a:lnTo>
                  <a:lnTo>
                    <a:pt x="106" y="16"/>
                  </a:lnTo>
                  <a:lnTo>
                    <a:pt x="105" y="10"/>
                  </a:lnTo>
                  <a:lnTo>
                    <a:pt x="10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253" name="Freeform 2138"/>
            <p:cNvSpPr>
              <a:spLocks/>
            </p:cNvSpPr>
            <p:nvPr/>
          </p:nvSpPr>
          <p:spPr bwMode="auto">
            <a:xfrm>
              <a:off x="1632358" y="2810464"/>
              <a:ext cx="41837" cy="16271"/>
            </a:xfrm>
            <a:custGeom>
              <a:avLst/>
              <a:gdLst>
                <a:gd name="T0" fmla="*/ 75 w 90"/>
                <a:gd name="T1" fmla="*/ 0 h 31"/>
                <a:gd name="T2" fmla="*/ 15 w 90"/>
                <a:gd name="T3" fmla="*/ 0 h 31"/>
                <a:gd name="T4" fmla="*/ 9 w 90"/>
                <a:gd name="T5" fmla="*/ 2 h 31"/>
                <a:gd name="T6" fmla="*/ 4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4 w 90"/>
                <a:gd name="T15" fmla="*/ 26 h 31"/>
                <a:gd name="T16" fmla="*/ 9 w 90"/>
                <a:gd name="T17" fmla="*/ 30 h 31"/>
                <a:gd name="T18" fmla="*/ 15 w 90"/>
                <a:gd name="T19" fmla="*/ 31 h 31"/>
                <a:gd name="T20" fmla="*/ 75 w 90"/>
                <a:gd name="T21" fmla="*/ 31 h 31"/>
                <a:gd name="T22" fmla="*/ 81 w 90"/>
                <a:gd name="T23" fmla="*/ 30 h 31"/>
                <a:gd name="T24" fmla="*/ 86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6 w 90"/>
                <a:gd name="T33" fmla="*/ 5 h 31"/>
                <a:gd name="T34" fmla="*/ 81 w 90"/>
                <a:gd name="T35" fmla="*/ 2 h 31"/>
                <a:gd name="T36" fmla="*/ 75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5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4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75" y="31"/>
                  </a:lnTo>
                  <a:lnTo>
                    <a:pt x="81" y="30"/>
                  </a:lnTo>
                  <a:lnTo>
                    <a:pt x="86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6" y="5"/>
                  </a:lnTo>
                  <a:lnTo>
                    <a:pt x="81" y="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</p:grpSp>
      <p:sp>
        <p:nvSpPr>
          <p:cNvPr id="254" name="Freeform 3886"/>
          <p:cNvSpPr>
            <a:spLocks noEditPoints="1"/>
          </p:cNvSpPr>
          <p:nvPr/>
        </p:nvSpPr>
        <p:spPr bwMode="auto">
          <a:xfrm>
            <a:off x="4580272" y="2692592"/>
            <a:ext cx="420692" cy="418367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255" name="Group 254"/>
          <p:cNvGrpSpPr/>
          <p:nvPr/>
        </p:nvGrpSpPr>
        <p:grpSpPr>
          <a:xfrm>
            <a:off x="6340899" y="2896358"/>
            <a:ext cx="364908" cy="420692"/>
            <a:chOff x="896938" y="1943100"/>
            <a:chExt cx="249237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56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7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58" name="Group 257"/>
          <p:cNvGrpSpPr/>
          <p:nvPr/>
        </p:nvGrpSpPr>
        <p:grpSpPr>
          <a:xfrm>
            <a:off x="8085736" y="3258987"/>
            <a:ext cx="347679" cy="267002"/>
            <a:chOff x="1450975" y="2559050"/>
            <a:chExt cx="287338" cy="220663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59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0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1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2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3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64" name="Text Placeholder 2"/>
          <p:cNvSpPr txBox="1">
            <a:spLocks/>
          </p:cNvSpPr>
          <p:nvPr/>
        </p:nvSpPr>
        <p:spPr>
          <a:xfrm>
            <a:off x="2463507" y="3979031"/>
            <a:ext cx="1251854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500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cxnSp>
        <p:nvCxnSpPr>
          <p:cNvPr id="265" name="Straight Connector 264"/>
          <p:cNvCxnSpPr/>
          <p:nvPr/>
        </p:nvCxnSpPr>
        <p:spPr>
          <a:xfrm>
            <a:off x="9571618" y="2451916"/>
            <a:ext cx="0" cy="711522"/>
          </a:xfrm>
          <a:prstGeom prst="line">
            <a:avLst/>
          </a:prstGeom>
          <a:ln w="635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Text Placeholder 2"/>
          <p:cNvSpPr txBox="1">
            <a:spLocks/>
          </p:cNvSpPr>
          <p:nvPr/>
        </p:nvSpPr>
        <p:spPr>
          <a:xfrm>
            <a:off x="4163528" y="3979031"/>
            <a:ext cx="1251854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500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267" name="Text Placeholder 2"/>
          <p:cNvSpPr txBox="1">
            <a:spLocks/>
          </p:cNvSpPr>
          <p:nvPr/>
        </p:nvSpPr>
        <p:spPr>
          <a:xfrm>
            <a:off x="5895102" y="3979031"/>
            <a:ext cx="1251854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500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268" name="Text Placeholder 2"/>
          <p:cNvSpPr txBox="1">
            <a:spLocks/>
          </p:cNvSpPr>
          <p:nvPr/>
        </p:nvSpPr>
        <p:spPr>
          <a:xfrm>
            <a:off x="7633647" y="3979031"/>
            <a:ext cx="1251854" cy="20051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500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269" name="TextBox 268"/>
          <p:cNvSpPr txBox="1"/>
          <p:nvPr/>
        </p:nvSpPr>
        <p:spPr>
          <a:xfrm>
            <a:off x="9316261" y="4709999"/>
            <a:ext cx="5107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/>
              <a:t>GOAL</a:t>
            </a:r>
          </a:p>
        </p:txBody>
      </p:sp>
      <p:sp>
        <p:nvSpPr>
          <p:cNvPr id="270" name="Freeform 3971"/>
          <p:cNvSpPr>
            <a:spLocks noEditPoints="1"/>
          </p:cNvSpPr>
          <p:nvPr/>
        </p:nvSpPr>
        <p:spPr bwMode="auto">
          <a:xfrm>
            <a:off x="9428483" y="2083515"/>
            <a:ext cx="284163" cy="284163"/>
          </a:xfrm>
          <a:custGeom>
            <a:avLst/>
            <a:gdLst>
              <a:gd name="T0" fmla="*/ 838 w 898"/>
              <a:gd name="T1" fmla="*/ 150 h 898"/>
              <a:gd name="T2" fmla="*/ 793 w 898"/>
              <a:gd name="T3" fmla="*/ 299 h 898"/>
              <a:gd name="T4" fmla="*/ 793 w 898"/>
              <a:gd name="T5" fmla="*/ 509 h 898"/>
              <a:gd name="T6" fmla="*/ 778 w 898"/>
              <a:gd name="T7" fmla="*/ 135 h 898"/>
              <a:gd name="T8" fmla="*/ 778 w 898"/>
              <a:gd name="T9" fmla="*/ 135 h 898"/>
              <a:gd name="T10" fmla="*/ 778 w 898"/>
              <a:gd name="T11" fmla="*/ 224 h 898"/>
              <a:gd name="T12" fmla="*/ 718 w 898"/>
              <a:gd name="T13" fmla="*/ 374 h 898"/>
              <a:gd name="T14" fmla="*/ 643 w 898"/>
              <a:gd name="T15" fmla="*/ 209 h 898"/>
              <a:gd name="T16" fmla="*/ 703 w 898"/>
              <a:gd name="T17" fmla="*/ 359 h 898"/>
              <a:gd name="T18" fmla="*/ 703 w 898"/>
              <a:gd name="T19" fmla="*/ 359 h 898"/>
              <a:gd name="T20" fmla="*/ 703 w 898"/>
              <a:gd name="T21" fmla="*/ 449 h 898"/>
              <a:gd name="T22" fmla="*/ 568 w 898"/>
              <a:gd name="T23" fmla="*/ 75 h 898"/>
              <a:gd name="T24" fmla="*/ 568 w 898"/>
              <a:gd name="T25" fmla="*/ 284 h 898"/>
              <a:gd name="T26" fmla="*/ 628 w 898"/>
              <a:gd name="T27" fmla="*/ 434 h 898"/>
              <a:gd name="T28" fmla="*/ 628 w 898"/>
              <a:gd name="T29" fmla="*/ 434 h 898"/>
              <a:gd name="T30" fmla="*/ 553 w 898"/>
              <a:gd name="T31" fmla="*/ 150 h 898"/>
              <a:gd name="T32" fmla="*/ 494 w 898"/>
              <a:gd name="T33" fmla="*/ 299 h 898"/>
              <a:gd name="T34" fmla="*/ 494 w 898"/>
              <a:gd name="T35" fmla="*/ 509 h 898"/>
              <a:gd name="T36" fmla="*/ 479 w 898"/>
              <a:gd name="T37" fmla="*/ 135 h 898"/>
              <a:gd name="T38" fmla="*/ 479 w 898"/>
              <a:gd name="T39" fmla="*/ 135 h 898"/>
              <a:gd name="T40" fmla="*/ 479 w 898"/>
              <a:gd name="T41" fmla="*/ 224 h 898"/>
              <a:gd name="T42" fmla="*/ 419 w 898"/>
              <a:gd name="T43" fmla="*/ 374 h 898"/>
              <a:gd name="T44" fmla="*/ 344 w 898"/>
              <a:gd name="T45" fmla="*/ 209 h 898"/>
              <a:gd name="T46" fmla="*/ 404 w 898"/>
              <a:gd name="T47" fmla="*/ 359 h 898"/>
              <a:gd name="T48" fmla="*/ 404 w 898"/>
              <a:gd name="T49" fmla="*/ 359 h 898"/>
              <a:gd name="T50" fmla="*/ 404 w 898"/>
              <a:gd name="T51" fmla="*/ 449 h 898"/>
              <a:gd name="T52" fmla="*/ 269 w 898"/>
              <a:gd name="T53" fmla="*/ 75 h 898"/>
              <a:gd name="T54" fmla="*/ 269 w 898"/>
              <a:gd name="T55" fmla="*/ 284 h 898"/>
              <a:gd name="T56" fmla="*/ 329 w 898"/>
              <a:gd name="T57" fmla="*/ 434 h 898"/>
              <a:gd name="T58" fmla="*/ 329 w 898"/>
              <a:gd name="T59" fmla="*/ 434 h 898"/>
              <a:gd name="T60" fmla="*/ 254 w 898"/>
              <a:gd name="T61" fmla="*/ 150 h 898"/>
              <a:gd name="T62" fmla="*/ 194 w 898"/>
              <a:gd name="T63" fmla="*/ 299 h 898"/>
              <a:gd name="T64" fmla="*/ 194 w 898"/>
              <a:gd name="T65" fmla="*/ 509 h 898"/>
              <a:gd name="T66" fmla="*/ 179 w 898"/>
              <a:gd name="T67" fmla="*/ 135 h 898"/>
              <a:gd name="T68" fmla="*/ 179 w 898"/>
              <a:gd name="T69" fmla="*/ 135 h 898"/>
              <a:gd name="T70" fmla="*/ 179 w 898"/>
              <a:gd name="T71" fmla="*/ 224 h 898"/>
              <a:gd name="T72" fmla="*/ 119 w 898"/>
              <a:gd name="T73" fmla="*/ 374 h 898"/>
              <a:gd name="T74" fmla="*/ 59 w 898"/>
              <a:gd name="T75" fmla="*/ 209 h 898"/>
              <a:gd name="T76" fmla="*/ 104 w 898"/>
              <a:gd name="T77" fmla="*/ 359 h 898"/>
              <a:gd name="T78" fmla="*/ 104 w 898"/>
              <a:gd name="T79" fmla="*/ 359 h 898"/>
              <a:gd name="T80" fmla="*/ 104 w 898"/>
              <a:gd name="T81" fmla="*/ 449 h 898"/>
              <a:gd name="T82" fmla="*/ 856 w 898"/>
              <a:gd name="T83" fmla="*/ 2 h 898"/>
              <a:gd name="T84" fmla="*/ 840 w 898"/>
              <a:gd name="T85" fmla="*/ 18 h 898"/>
              <a:gd name="T86" fmla="*/ 59 w 898"/>
              <a:gd name="T87" fmla="*/ 45 h 898"/>
              <a:gd name="T88" fmla="*/ 54 w 898"/>
              <a:gd name="T89" fmla="*/ 12 h 898"/>
              <a:gd name="T90" fmla="*/ 35 w 898"/>
              <a:gd name="T91" fmla="*/ 0 h 898"/>
              <a:gd name="T92" fmla="*/ 12 w 898"/>
              <a:gd name="T93" fmla="*/ 5 h 898"/>
              <a:gd name="T94" fmla="*/ 0 w 898"/>
              <a:gd name="T95" fmla="*/ 23 h 898"/>
              <a:gd name="T96" fmla="*/ 2 w 898"/>
              <a:gd name="T97" fmla="*/ 880 h 898"/>
              <a:gd name="T98" fmla="*/ 18 w 898"/>
              <a:gd name="T99" fmla="*/ 896 h 898"/>
              <a:gd name="T100" fmla="*/ 40 w 898"/>
              <a:gd name="T101" fmla="*/ 896 h 898"/>
              <a:gd name="T102" fmla="*/ 56 w 898"/>
              <a:gd name="T103" fmla="*/ 880 h 898"/>
              <a:gd name="T104" fmla="*/ 838 w 898"/>
              <a:gd name="T105" fmla="*/ 539 h 898"/>
              <a:gd name="T106" fmla="*/ 844 w 898"/>
              <a:gd name="T107" fmla="*/ 886 h 898"/>
              <a:gd name="T108" fmla="*/ 862 w 898"/>
              <a:gd name="T109" fmla="*/ 897 h 898"/>
              <a:gd name="T110" fmla="*/ 884 w 898"/>
              <a:gd name="T111" fmla="*/ 893 h 898"/>
              <a:gd name="T112" fmla="*/ 897 w 898"/>
              <a:gd name="T113" fmla="*/ 875 h 898"/>
              <a:gd name="T114" fmla="*/ 895 w 898"/>
              <a:gd name="T115" fmla="*/ 18 h 898"/>
              <a:gd name="T116" fmla="*/ 880 w 898"/>
              <a:gd name="T117" fmla="*/ 2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98" h="898">
                <a:moveTo>
                  <a:pt x="838" y="209"/>
                </a:moveTo>
                <a:lnTo>
                  <a:pt x="793" y="209"/>
                </a:lnTo>
                <a:lnTo>
                  <a:pt x="793" y="150"/>
                </a:lnTo>
                <a:lnTo>
                  <a:pt x="838" y="150"/>
                </a:lnTo>
                <a:lnTo>
                  <a:pt x="838" y="209"/>
                </a:lnTo>
                <a:close/>
                <a:moveTo>
                  <a:pt x="838" y="359"/>
                </a:moveTo>
                <a:lnTo>
                  <a:pt x="793" y="359"/>
                </a:lnTo>
                <a:lnTo>
                  <a:pt x="793" y="299"/>
                </a:lnTo>
                <a:lnTo>
                  <a:pt x="838" y="299"/>
                </a:lnTo>
                <a:lnTo>
                  <a:pt x="838" y="359"/>
                </a:lnTo>
                <a:close/>
                <a:moveTo>
                  <a:pt x="838" y="509"/>
                </a:moveTo>
                <a:lnTo>
                  <a:pt x="793" y="509"/>
                </a:lnTo>
                <a:lnTo>
                  <a:pt x="793" y="449"/>
                </a:lnTo>
                <a:lnTo>
                  <a:pt x="838" y="449"/>
                </a:lnTo>
                <a:lnTo>
                  <a:pt x="838" y="509"/>
                </a:lnTo>
                <a:close/>
                <a:moveTo>
                  <a:pt x="778" y="135"/>
                </a:moveTo>
                <a:lnTo>
                  <a:pt x="718" y="135"/>
                </a:lnTo>
                <a:lnTo>
                  <a:pt x="718" y="75"/>
                </a:lnTo>
                <a:lnTo>
                  <a:pt x="778" y="75"/>
                </a:lnTo>
                <a:lnTo>
                  <a:pt x="778" y="135"/>
                </a:lnTo>
                <a:close/>
                <a:moveTo>
                  <a:pt x="778" y="284"/>
                </a:moveTo>
                <a:lnTo>
                  <a:pt x="718" y="284"/>
                </a:lnTo>
                <a:lnTo>
                  <a:pt x="718" y="224"/>
                </a:lnTo>
                <a:lnTo>
                  <a:pt x="778" y="224"/>
                </a:lnTo>
                <a:lnTo>
                  <a:pt x="778" y="284"/>
                </a:lnTo>
                <a:close/>
                <a:moveTo>
                  <a:pt x="778" y="434"/>
                </a:moveTo>
                <a:lnTo>
                  <a:pt x="718" y="434"/>
                </a:lnTo>
                <a:lnTo>
                  <a:pt x="718" y="374"/>
                </a:lnTo>
                <a:lnTo>
                  <a:pt x="778" y="374"/>
                </a:lnTo>
                <a:lnTo>
                  <a:pt x="778" y="434"/>
                </a:lnTo>
                <a:close/>
                <a:moveTo>
                  <a:pt x="703" y="209"/>
                </a:moveTo>
                <a:lnTo>
                  <a:pt x="643" y="209"/>
                </a:lnTo>
                <a:lnTo>
                  <a:pt x="643" y="150"/>
                </a:lnTo>
                <a:lnTo>
                  <a:pt x="703" y="150"/>
                </a:lnTo>
                <a:lnTo>
                  <a:pt x="703" y="209"/>
                </a:lnTo>
                <a:close/>
                <a:moveTo>
                  <a:pt x="703" y="359"/>
                </a:moveTo>
                <a:lnTo>
                  <a:pt x="643" y="359"/>
                </a:lnTo>
                <a:lnTo>
                  <a:pt x="643" y="299"/>
                </a:lnTo>
                <a:lnTo>
                  <a:pt x="703" y="299"/>
                </a:lnTo>
                <a:lnTo>
                  <a:pt x="703" y="359"/>
                </a:lnTo>
                <a:close/>
                <a:moveTo>
                  <a:pt x="703" y="509"/>
                </a:moveTo>
                <a:lnTo>
                  <a:pt x="643" y="509"/>
                </a:lnTo>
                <a:lnTo>
                  <a:pt x="643" y="449"/>
                </a:lnTo>
                <a:lnTo>
                  <a:pt x="703" y="449"/>
                </a:lnTo>
                <a:lnTo>
                  <a:pt x="703" y="509"/>
                </a:lnTo>
                <a:close/>
                <a:moveTo>
                  <a:pt x="628" y="135"/>
                </a:moveTo>
                <a:lnTo>
                  <a:pt x="568" y="135"/>
                </a:lnTo>
                <a:lnTo>
                  <a:pt x="568" y="75"/>
                </a:lnTo>
                <a:lnTo>
                  <a:pt x="628" y="75"/>
                </a:lnTo>
                <a:lnTo>
                  <a:pt x="628" y="135"/>
                </a:lnTo>
                <a:close/>
                <a:moveTo>
                  <a:pt x="628" y="284"/>
                </a:moveTo>
                <a:lnTo>
                  <a:pt x="568" y="284"/>
                </a:lnTo>
                <a:lnTo>
                  <a:pt x="568" y="224"/>
                </a:lnTo>
                <a:lnTo>
                  <a:pt x="628" y="224"/>
                </a:lnTo>
                <a:lnTo>
                  <a:pt x="628" y="284"/>
                </a:lnTo>
                <a:close/>
                <a:moveTo>
                  <a:pt x="628" y="434"/>
                </a:moveTo>
                <a:lnTo>
                  <a:pt x="568" y="434"/>
                </a:lnTo>
                <a:lnTo>
                  <a:pt x="568" y="374"/>
                </a:lnTo>
                <a:lnTo>
                  <a:pt x="628" y="374"/>
                </a:lnTo>
                <a:lnTo>
                  <a:pt x="628" y="434"/>
                </a:lnTo>
                <a:close/>
                <a:moveTo>
                  <a:pt x="553" y="209"/>
                </a:moveTo>
                <a:lnTo>
                  <a:pt x="494" y="209"/>
                </a:lnTo>
                <a:lnTo>
                  <a:pt x="494" y="150"/>
                </a:lnTo>
                <a:lnTo>
                  <a:pt x="553" y="150"/>
                </a:lnTo>
                <a:lnTo>
                  <a:pt x="553" y="209"/>
                </a:lnTo>
                <a:close/>
                <a:moveTo>
                  <a:pt x="553" y="359"/>
                </a:moveTo>
                <a:lnTo>
                  <a:pt x="494" y="359"/>
                </a:lnTo>
                <a:lnTo>
                  <a:pt x="494" y="299"/>
                </a:lnTo>
                <a:lnTo>
                  <a:pt x="553" y="299"/>
                </a:lnTo>
                <a:lnTo>
                  <a:pt x="553" y="359"/>
                </a:lnTo>
                <a:close/>
                <a:moveTo>
                  <a:pt x="553" y="509"/>
                </a:moveTo>
                <a:lnTo>
                  <a:pt x="494" y="509"/>
                </a:lnTo>
                <a:lnTo>
                  <a:pt x="494" y="449"/>
                </a:lnTo>
                <a:lnTo>
                  <a:pt x="553" y="449"/>
                </a:lnTo>
                <a:lnTo>
                  <a:pt x="553" y="509"/>
                </a:lnTo>
                <a:close/>
                <a:moveTo>
                  <a:pt x="479" y="135"/>
                </a:moveTo>
                <a:lnTo>
                  <a:pt x="419" y="135"/>
                </a:lnTo>
                <a:lnTo>
                  <a:pt x="419" y="75"/>
                </a:lnTo>
                <a:lnTo>
                  <a:pt x="479" y="75"/>
                </a:lnTo>
                <a:lnTo>
                  <a:pt x="479" y="135"/>
                </a:lnTo>
                <a:close/>
                <a:moveTo>
                  <a:pt x="479" y="284"/>
                </a:moveTo>
                <a:lnTo>
                  <a:pt x="419" y="284"/>
                </a:lnTo>
                <a:lnTo>
                  <a:pt x="419" y="224"/>
                </a:lnTo>
                <a:lnTo>
                  <a:pt x="479" y="224"/>
                </a:lnTo>
                <a:lnTo>
                  <a:pt x="479" y="284"/>
                </a:lnTo>
                <a:close/>
                <a:moveTo>
                  <a:pt x="479" y="434"/>
                </a:moveTo>
                <a:lnTo>
                  <a:pt x="419" y="434"/>
                </a:lnTo>
                <a:lnTo>
                  <a:pt x="419" y="374"/>
                </a:lnTo>
                <a:lnTo>
                  <a:pt x="479" y="374"/>
                </a:lnTo>
                <a:lnTo>
                  <a:pt x="479" y="434"/>
                </a:lnTo>
                <a:close/>
                <a:moveTo>
                  <a:pt x="404" y="209"/>
                </a:moveTo>
                <a:lnTo>
                  <a:pt x="344" y="209"/>
                </a:lnTo>
                <a:lnTo>
                  <a:pt x="344" y="150"/>
                </a:lnTo>
                <a:lnTo>
                  <a:pt x="404" y="150"/>
                </a:lnTo>
                <a:lnTo>
                  <a:pt x="404" y="209"/>
                </a:lnTo>
                <a:close/>
                <a:moveTo>
                  <a:pt x="404" y="359"/>
                </a:moveTo>
                <a:lnTo>
                  <a:pt x="344" y="359"/>
                </a:lnTo>
                <a:lnTo>
                  <a:pt x="344" y="299"/>
                </a:lnTo>
                <a:lnTo>
                  <a:pt x="404" y="299"/>
                </a:lnTo>
                <a:lnTo>
                  <a:pt x="404" y="359"/>
                </a:lnTo>
                <a:close/>
                <a:moveTo>
                  <a:pt x="404" y="509"/>
                </a:moveTo>
                <a:lnTo>
                  <a:pt x="344" y="509"/>
                </a:lnTo>
                <a:lnTo>
                  <a:pt x="344" y="449"/>
                </a:lnTo>
                <a:lnTo>
                  <a:pt x="404" y="449"/>
                </a:lnTo>
                <a:lnTo>
                  <a:pt x="404" y="509"/>
                </a:lnTo>
                <a:close/>
                <a:moveTo>
                  <a:pt x="329" y="135"/>
                </a:moveTo>
                <a:lnTo>
                  <a:pt x="269" y="135"/>
                </a:lnTo>
                <a:lnTo>
                  <a:pt x="269" y="75"/>
                </a:lnTo>
                <a:lnTo>
                  <a:pt x="329" y="75"/>
                </a:lnTo>
                <a:lnTo>
                  <a:pt x="329" y="135"/>
                </a:lnTo>
                <a:close/>
                <a:moveTo>
                  <a:pt x="329" y="284"/>
                </a:moveTo>
                <a:lnTo>
                  <a:pt x="269" y="284"/>
                </a:lnTo>
                <a:lnTo>
                  <a:pt x="269" y="224"/>
                </a:lnTo>
                <a:lnTo>
                  <a:pt x="329" y="224"/>
                </a:lnTo>
                <a:lnTo>
                  <a:pt x="329" y="284"/>
                </a:lnTo>
                <a:close/>
                <a:moveTo>
                  <a:pt x="329" y="434"/>
                </a:moveTo>
                <a:lnTo>
                  <a:pt x="269" y="434"/>
                </a:lnTo>
                <a:lnTo>
                  <a:pt x="269" y="374"/>
                </a:lnTo>
                <a:lnTo>
                  <a:pt x="329" y="374"/>
                </a:lnTo>
                <a:lnTo>
                  <a:pt x="329" y="434"/>
                </a:lnTo>
                <a:close/>
                <a:moveTo>
                  <a:pt x="254" y="209"/>
                </a:moveTo>
                <a:lnTo>
                  <a:pt x="194" y="209"/>
                </a:lnTo>
                <a:lnTo>
                  <a:pt x="194" y="150"/>
                </a:lnTo>
                <a:lnTo>
                  <a:pt x="254" y="150"/>
                </a:lnTo>
                <a:lnTo>
                  <a:pt x="254" y="209"/>
                </a:lnTo>
                <a:close/>
                <a:moveTo>
                  <a:pt x="254" y="359"/>
                </a:moveTo>
                <a:lnTo>
                  <a:pt x="194" y="359"/>
                </a:lnTo>
                <a:lnTo>
                  <a:pt x="194" y="299"/>
                </a:lnTo>
                <a:lnTo>
                  <a:pt x="254" y="299"/>
                </a:lnTo>
                <a:lnTo>
                  <a:pt x="254" y="359"/>
                </a:lnTo>
                <a:close/>
                <a:moveTo>
                  <a:pt x="254" y="509"/>
                </a:moveTo>
                <a:lnTo>
                  <a:pt x="194" y="509"/>
                </a:lnTo>
                <a:lnTo>
                  <a:pt x="194" y="449"/>
                </a:lnTo>
                <a:lnTo>
                  <a:pt x="254" y="449"/>
                </a:lnTo>
                <a:lnTo>
                  <a:pt x="254" y="509"/>
                </a:lnTo>
                <a:close/>
                <a:moveTo>
                  <a:pt x="179" y="135"/>
                </a:moveTo>
                <a:lnTo>
                  <a:pt x="119" y="135"/>
                </a:lnTo>
                <a:lnTo>
                  <a:pt x="119" y="75"/>
                </a:lnTo>
                <a:lnTo>
                  <a:pt x="179" y="75"/>
                </a:lnTo>
                <a:lnTo>
                  <a:pt x="179" y="135"/>
                </a:lnTo>
                <a:close/>
                <a:moveTo>
                  <a:pt x="179" y="284"/>
                </a:moveTo>
                <a:lnTo>
                  <a:pt x="119" y="284"/>
                </a:lnTo>
                <a:lnTo>
                  <a:pt x="119" y="224"/>
                </a:lnTo>
                <a:lnTo>
                  <a:pt x="179" y="224"/>
                </a:lnTo>
                <a:lnTo>
                  <a:pt x="179" y="284"/>
                </a:lnTo>
                <a:close/>
                <a:moveTo>
                  <a:pt x="179" y="434"/>
                </a:moveTo>
                <a:lnTo>
                  <a:pt x="119" y="434"/>
                </a:lnTo>
                <a:lnTo>
                  <a:pt x="119" y="374"/>
                </a:lnTo>
                <a:lnTo>
                  <a:pt x="179" y="374"/>
                </a:lnTo>
                <a:lnTo>
                  <a:pt x="179" y="434"/>
                </a:lnTo>
                <a:close/>
                <a:moveTo>
                  <a:pt x="104" y="209"/>
                </a:moveTo>
                <a:lnTo>
                  <a:pt x="59" y="209"/>
                </a:lnTo>
                <a:lnTo>
                  <a:pt x="59" y="150"/>
                </a:lnTo>
                <a:lnTo>
                  <a:pt x="104" y="150"/>
                </a:lnTo>
                <a:lnTo>
                  <a:pt x="104" y="209"/>
                </a:lnTo>
                <a:close/>
                <a:moveTo>
                  <a:pt x="104" y="359"/>
                </a:moveTo>
                <a:lnTo>
                  <a:pt x="59" y="359"/>
                </a:lnTo>
                <a:lnTo>
                  <a:pt x="59" y="299"/>
                </a:lnTo>
                <a:lnTo>
                  <a:pt x="104" y="299"/>
                </a:lnTo>
                <a:lnTo>
                  <a:pt x="104" y="359"/>
                </a:lnTo>
                <a:close/>
                <a:moveTo>
                  <a:pt x="104" y="509"/>
                </a:moveTo>
                <a:lnTo>
                  <a:pt x="59" y="509"/>
                </a:lnTo>
                <a:lnTo>
                  <a:pt x="59" y="449"/>
                </a:lnTo>
                <a:lnTo>
                  <a:pt x="104" y="449"/>
                </a:lnTo>
                <a:lnTo>
                  <a:pt x="104" y="509"/>
                </a:lnTo>
                <a:close/>
                <a:moveTo>
                  <a:pt x="868" y="0"/>
                </a:moveTo>
                <a:lnTo>
                  <a:pt x="862" y="0"/>
                </a:lnTo>
                <a:lnTo>
                  <a:pt x="856" y="2"/>
                </a:lnTo>
                <a:lnTo>
                  <a:pt x="851" y="5"/>
                </a:lnTo>
                <a:lnTo>
                  <a:pt x="847" y="8"/>
                </a:lnTo>
                <a:lnTo>
                  <a:pt x="844" y="12"/>
                </a:lnTo>
                <a:lnTo>
                  <a:pt x="840" y="18"/>
                </a:lnTo>
                <a:lnTo>
                  <a:pt x="838" y="23"/>
                </a:lnTo>
                <a:lnTo>
                  <a:pt x="838" y="30"/>
                </a:lnTo>
                <a:lnTo>
                  <a:pt x="838" y="45"/>
                </a:lnTo>
                <a:lnTo>
                  <a:pt x="59" y="45"/>
                </a:lnTo>
                <a:lnTo>
                  <a:pt x="59" y="30"/>
                </a:lnTo>
                <a:lnTo>
                  <a:pt x="59" y="23"/>
                </a:lnTo>
                <a:lnTo>
                  <a:pt x="56" y="18"/>
                </a:lnTo>
                <a:lnTo>
                  <a:pt x="54" y="12"/>
                </a:lnTo>
                <a:lnTo>
                  <a:pt x="50" y="8"/>
                </a:lnTo>
                <a:lnTo>
                  <a:pt x="46" y="5"/>
                </a:lnTo>
                <a:lnTo>
                  <a:pt x="40" y="2"/>
                </a:lnTo>
                <a:lnTo>
                  <a:pt x="35" y="0"/>
                </a:lnTo>
                <a:lnTo>
                  <a:pt x="30" y="0"/>
                </a:lnTo>
                <a:lnTo>
                  <a:pt x="23" y="0"/>
                </a:lnTo>
                <a:lnTo>
                  <a:pt x="18" y="2"/>
                </a:lnTo>
                <a:lnTo>
                  <a:pt x="12" y="5"/>
                </a:lnTo>
                <a:lnTo>
                  <a:pt x="8" y="8"/>
                </a:lnTo>
                <a:lnTo>
                  <a:pt x="4" y="12"/>
                </a:lnTo>
                <a:lnTo>
                  <a:pt x="2" y="18"/>
                </a:lnTo>
                <a:lnTo>
                  <a:pt x="0" y="23"/>
                </a:lnTo>
                <a:lnTo>
                  <a:pt x="0" y="30"/>
                </a:lnTo>
                <a:lnTo>
                  <a:pt x="0" y="868"/>
                </a:lnTo>
                <a:lnTo>
                  <a:pt x="0" y="875"/>
                </a:lnTo>
                <a:lnTo>
                  <a:pt x="2" y="880"/>
                </a:lnTo>
                <a:lnTo>
                  <a:pt x="4" y="886"/>
                </a:lnTo>
                <a:lnTo>
                  <a:pt x="8" y="890"/>
                </a:lnTo>
                <a:lnTo>
                  <a:pt x="12" y="893"/>
                </a:lnTo>
                <a:lnTo>
                  <a:pt x="18" y="896"/>
                </a:lnTo>
                <a:lnTo>
                  <a:pt x="23" y="897"/>
                </a:lnTo>
                <a:lnTo>
                  <a:pt x="30" y="898"/>
                </a:lnTo>
                <a:lnTo>
                  <a:pt x="35" y="897"/>
                </a:lnTo>
                <a:lnTo>
                  <a:pt x="40" y="896"/>
                </a:lnTo>
                <a:lnTo>
                  <a:pt x="46" y="893"/>
                </a:lnTo>
                <a:lnTo>
                  <a:pt x="50" y="890"/>
                </a:lnTo>
                <a:lnTo>
                  <a:pt x="54" y="886"/>
                </a:lnTo>
                <a:lnTo>
                  <a:pt x="56" y="880"/>
                </a:lnTo>
                <a:lnTo>
                  <a:pt x="59" y="875"/>
                </a:lnTo>
                <a:lnTo>
                  <a:pt x="59" y="868"/>
                </a:lnTo>
                <a:lnTo>
                  <a:pt x="59" y="539"/>
                </a:lnTo>
                <a:lnTo>
                  <a:pt x="838" y="539"/>
                </a:lnTo>
                <a:lnTo>
                  <a:pt x="838" y="868"/>
                </a:lnTo>
                <a:lnTo>
                  <a:pt x="838" y="875"/>
                </a:lnTo>
                <a:lnTo>
                  <a:pt x="840" y="880"/>
                </a:lnTo>
                <a:lnTo>
                  <a:pt x="844" y="886"/>
                </a:lnTo>
                <a:lnTo>
                  <a:pt x="847" y="890"/>
                </a:lnTo>
                <a:lnTo>
                  <a:pt x="851" y="893"/>
                </a:lnTo>
                <a:lnTo>
                  <a:pt x="856" y="896"/>
                </a:lnTo>
                <a:lnTo>
                  <a:pt x="862" y="897"/>
                </a:lnTo>
                <a:lnTo>
                  <a:pt x="868" y="898"/>
                </a:lnTo>
                <a:lnTo>
                  <a:pt x="874" y="897"/>
                </a:lnTo>
                <a:lnTo>
                  <a:pt x="880" y="896"/>
                </a:lnTo>
                <a:lnTo>
                  <a:pt x="884" y="893"/>
                </a:lnTo>
                <a:lnTo>
                  <a:pt x="889" y="890"/>
                </a:lnTo>
                <a:lnTo>
                  <a:pt x="893" y="886"/>
                </a:lnTo>
                <a:lnTo>
                  <a:pt x="895" y="880"/>
                </a:lnTo>
                <a:lnTo>
                  <a:pt x="897" y="875"/>
                </a:lnTo>
                <a:lnTo>
                  <a:pt x="898" y="868"/>
                </a:lnTo>
                <a:lnTo>
                  <a:pt x="898" y="30"/>
                </a:lnTo>
                <a:lnTo>
                  <a:pt x="897" y="23"/>
                </a:lnTo>
                <a:lnTo>
                  <a:pt x="895" y="18"/>
                </a:lnTo>
                <a:lnTo>
                  <a:pt x="893" y="12"/>
                </a:lnTo>
                <a:lnTo>
                  <a:pt x="889" y="8"/>
                </a:lnTo>
                <a:lnTo>
                  <a:pt x="884" y="5"/>
                </a:lnTo>
                <a:lnTo>
                  <a:pt x="880" y="2"/>
                </a:lnTo>
                <a:lnTo>
                  <a:pt x="874" y="0"/>
                </a:lnTo>
                <a:lnTo>
                  <a:pt x="86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5494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Chevron 387"/>
          <p:cNvSpPr>
            <a:spLocks noChangeAspect="1"/>
          </p:cNvSpPr>
          <p:nvPr/>
        </p:nvSpPr>
        <p:spPr>
          <a:xfrm rot="5400000">
            <a:off x="525700" y="3307736"/>
            <a:ext cx="515795" cy="522720"/>
          </a:xfrm>
          <a:prstGeom prst="roundRect">
            <a:avLst/>
          </a:prstGeom>
          <a:solidFill>
            <a:srgbClr val="FEA34F"/>
          </a:solidFill>
          <a:ln w="25400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80" name="Chevron 387"/>
          <p:cNvSpPr>
            <a:spLocks noChangeAspect="1"/>
          </p:cNvSpPr>
          <p:nvPr/>
        </p:nvSpPr>
        <p:spPr>
          <a:xfrm rot="5400000">
            <a:off x="525700" y="1377348"/>
            <a:ext cx="515795" cy="522720"/>
          </a:xfrm>
          <a:prstGeom prst="roundRect">
            <a:avLst/>
          </a:prstGeom>
          <a:solidFill>
            <a:srgbClr val="016AA3"/>
          </a:solidFill>
          <a:ln w="25400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LINE AND BAR CHART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7" name="Group 176"/>
          <p:cNvGrpSpPr/>
          <p:nvPr/>
        </p:nvGrpSpPr>
        <p:grpSpPr>
          <a:xfrm>
            <a:off x="3385266" y="1466145"/>
            <a:ext cx="5418593" cy="3612395"/>
            <a:chOff x="-459798" y="185167"/>
            <a:chExt cx="4478176" cy="2985450"/>
          </a:xfrm>
        </p:grpSpPr>
        <p:graphicFrame>
          <p:nvGraphicFramePr>
            <p:cNvPr id="278" name="Chart 277"/>
            <p:cNvGraphicFramePr/>
            <p:nvPr>
              <p:extLst>
                <p:ext uri="{D42A27DB-BD31-4B8C-83A1-F6EECF244321}">
                  <p14:modId xmlns:p14="http://schemas.microsoft.com/office/powerpoint/2010/main" val="2544899188"/>
                </p:ext>
              </p:extLst>
            </p:nvPr>
          </p:nvGraphicFramePr>
          <p:xfrm>
            <a:off x="-459798" y="185167"/>
            <a:ext cx="4478176" cy="29854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79" name="Oval 278"/>
            <p:cNvSpPr/>
            <p:nvPr/>
          </p:nvSpPr>
          <p:spPr>
            <a:xfrm>
              <a:off x="632662" y="531264"/>
              <a:ext cx="2293256" cy="22932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24" name="TextBox 66"/>
          <p:cNvSpPr txBox="1"/>
          <p:nvPr/>
        </p:nvSpPr>
        <p:spPr>
          <a:xfrm>
            <a:off x="5139948" y="3435536"/>
            <a:ext cx="1909231" cy="55861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Lorem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</a:t>
            </a:r>
          </a:p>
        </p:txBody>
      </p:sp>
      <p:cxnSp>
        <p:nvCxnSpPr>
          <p:cNvPr id="225" name="Straight Connector 224"/>
          <p:cNvCxnSpPr/>
          <p:nvPr/>
        </p:nvCxnSpPr>
        <p:spPr>
          <a:xfrm>
            <a:off x="6011291" y="3382898"/>
            <a:ext cx="166546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69"/>
          <p:cNvSpPr txBox="1"/>
          <p:nvPr/>
        </p:nvSpPr>
        <p:spPr>
          <a:xfrm>
            <a:off x="5530375" y="3106813"/>
            <a:ext cx="1128377" cy="22344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LOREM IPSUM</a:t>
            </a:r>
          </a:p>
        </p:txBody>
      </p:sp>
      <p:cxnSp>
        <p:nvCxnSpPr>
          <p:cNvPr id="179" name="Straight Connector 178"/>
          <p:cNvCxnSpPr/>
          <p:nvPr/>
        </p:nvCxnSpPr>
        <p:spPr>
          <a:xfrm>
            <a:off x="7569109" y="3337305"/>
            <a:ext cx="4110809" cy="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TextBox 132"/>
          <p:cNvSpPr txBox="1"/>
          <p:nvPr/>
        </p:nvSpPr>
        <p:spPr>
          <a:xfrm>
            <a:off x="7794934" y="3069248"/>
            <a:ext cx="47790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46B688"/>
                </a:solidFill>
              </a:rPr>
              <a:t>58%</a:t>
            </a:r>
          </a:p>
        </p:txBody>
      </p:sp>
      <p:sp>
        <p:nvSpPr>
          <p:cNvPr id="181" name="TextBox 133"/>
          <p:cNvSpPr txBox="1"/>
          <p:nvPr/>
        </p:nvSpPr>
        <p:spPr>
          <a:xfrm>
            <a:off x="10720238" y="3098064"/>
            <a:ext cx="959680" cy="1862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b="1" dirty="0">
                <a:solidFill>
                  <a:srgbClr val="46B688"/>
                </a:solidFill>
              </a:rPr>
              <a:t>LOREM IPSUM</a:t>
            </a:r>
          </a:p>
        </p:txBody>
      </p:sp>
      <p:sp>
        <p:nvSpPr>
          <p:cNvPr id="182" name="TextBox 134"/>
          <p:cNvSpPr txBox="1"/>
          <p:nvPr/>
        </p:nvSpPr>
        <p:spPr>
          <a:xfrm flipH="1">
            <a:off x="9537671" y="3430320"/>
            <a:ext cx="2142247" cy="55861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/>
              <a:t>Lorem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</a:t>
            </a:r>
          </a:p>
        </p:txBody>
      </p:sp>
      <p:sp>
        <p:nvSpPr>
          <p:cNvPr id="215" name="Chevron 387"/>
          <p:cNvSpPr>
            <a:spLocks noChangeAspect="1"/>
          </p:cNvSpPr>
          <p:nvPr/>
        </p:nvSpPr>
        <p:spPr>
          <a:xfrm rot="5400000">
            <a:off x="11160660" y="2506568"/>
            <a:ext cx="515795" cy="522720"/>
          </a:xfrm>
          <a:prstGeom prst="roundRect">
            <a:avLst/>
          </a:prstGeom>
          <a:solidFill>
            <a:srgbClr val="46B688"/>
          </a:solidFill>
          <a:ln w="25400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84" name="TextBox 147"/>
          <p:cNvSpPr txBox="1"/>
          <p:nvPr/>
        </p:nvSpPr>
        <p:spPr>
          <a:xfrm>
            <a:off x="522238" y="2059832"/>
            <a:ext cx="959680" cy="1862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016AA3"/>
                </a:solidFill>
              </a:rPr>
              <a:t>LOREM IPSUM</a:t>
            </a:r>
          </a:p>
        </p:txBody>
      </p:sp>
      <p:sp>
        <p:nvSpPr>
          <p:cNvPr id="185" name="TextBox 148"/>
          <p:cNvSpPr txBox="1"/>
          <p:nvPr/>
        </p:nvSpPr>
        <p:spPr>
          <a:xfrm flipH="1">
            <a:off x="522238" y="2255380"/>
            <a:ext cx="2142247" cy="55861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Lorem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</a:t>
            </a:r>
          </a:p>
        </p:txBody>
      </p:sp>
      <p:grpSp>
        <p:nvGrpSpPr>
          <p:cNvPr id="187" name="Group 186"/>
          <p:cNvGrpSpPr/>
          <p:nvPr/>
        </p:nvGrpSpPr>
        <p:grpSpPr>
          <a:xfrm flipH="1">
            <a:off x="522236" y="1967545"/>
            <a:ext cx="4251485" cy="249783"/>
            <a:chOff x="5666242" y="1089962"/>
            <a:chExt cx="3513624" cy="249783"/>
          </a:xfrm>
        </p:grpSpPr>
        <p:cxnSp>
          <p:nvCxnSpPr>
            <p:cNvPr id="213" name="Straight Connector 212"/>
            <p:cNvCxnSpPr/>
            <p:nvPr/>
          </p:nvCxnSpPr>
          <p:spPr>
            <a:xfrm>
              <a:off x="5915024" y="1089962"/>
              <a:ext cx="326484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flipH="1">
              <a:off x="5666242" y="1089962"/>
              <a:ext cx="248783" cy="249783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8" name="TextBox 163"/>
          <p:cNvSpPr txBox="1"/>
          <p:nvPr/>
        </p:nvSpPr>
        <p:spPr>
          <a:xfrm>
            <a:off x="3927075" y="1999815"/>
            <a:ext cx="47790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b="1" dirty="0">
                <a:solidFill>
                  <a:srgbClr val="016AA3"/>
                </a:solidFill>
              </a:rPr>
              <a:t>22%</a:t>
            </a:r>
          </a:p>
        </p:txBody>
      </p:sp>
      <p:sp>
        <p:nvSpPr>
          <p:cNvPr id="189" name="TextBox 164"/>
          <p:cNvSpPr txBox="1"/>
          <p:nvPr/>
        </p:nvSpPr>
        <p:spPr>
          <a:xfrm>
            <a:off x="522238" y="3977293"/>
            <a:ext cx="959680" cy="1862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EA34F"/>
                </a:solidFill>
              </a:rPr>
              <a:t>LOREM IPSUM</a:t>
            </a:r>
          </a:p>
        </p:txBody>
      </p:sp>
      <p:sp>
        <p:nvSpPr>
          <p:cNvPr id="190" name="TextBox 165"/>
          <p:cNvSpPr txBox="1"/>
          <p:nvPr/>
        </p:nvSpPr>
        <p:spPr>
          <a:xfrm flipH="1">
            <a:off x="522238" y="4185769"/>
            <a:ext cx="2142247" cy="55861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Lorem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</a:t>
            </a:r>
          </a:p>
        </p:txBody>
      </p:sp>
      <p:grpSp>
        <p:nvGrpSpPr>
          <p:cNvPr id="192" name="Group 191"/>
          <p:cNvGrpSpPr/>
          <p:nvPr/>
        </p:nvGrpSpPr>
        <p:grpSpPr>
          <a:xfrm flipH="1">
            <a:off x="522234" y="3932431"/>
            <a:ext cx="4184907" cy="196007"/>
            <a:chOff x="5721265" y="1089961"/>
            <a:chExt cx="3458601" cy="219216"/>
          </a:xfrm>
        </p:grpSpPr>
        <p:cxnSp>
          <p:nvCxnSpPr>
            <p:cNvPr id="202" name="Straight Connector 201"/>
            <p:cNvCxnSpPr/>
            <p:nvPr/>
          </p:nvCxnSpPr>
          <p:spPr>
            <a:xfrm flipV="1">
              <a:off x="5915025" y="1089962"/>
              <a:ext cx="3264841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/>
          </p:nvCxnSpPr>
          <p:spPr>
            <a:xfrm flipH="1">
              <a:off x="5721265" y="1089961"/>
              <a:ext cx="193760" cy="219216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3" name="TextBox 179"/>
          <p:cNvSpPr txBox="1"/>
          <p:nvPr/>
        </p:nvSpPr>
        <p:spPr>
          <a:xfrm>
            <a:off x="3927075" y="3977293"/>
            <a:ext cx="47790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b="1" dirty="0">
                <a:solidFill>
                  <a:srgbClr val="FEA34F"/>
                </a:solidFill>
              </a:rPr>
              <a:t>28%</a:t>
            </a:r>
          </a:p>
        </p:txBody>
      </p:sp>
      <p:grpSp>
        <p:nvGrpSpPr>
          <p:cNvPr id="141" name="Group 140"/>
          <p:cNvGrpSpPr/>
          <p:nvPr/>
        </p:nvGrpSpPr>
        <p:grpSpPr>
          <a:xfrm>
            <a:off x="512082" y="5150497"/>
            <a:ext cx="11107088" cy="1205368"/>
            <a:chOff x="515936" y="5284465"/>
            <a:chExt cx="11107088" cy="1205368"/>
          </a:xfrm>
        </p:grpSpPr>
        <p:grpSp>
          <p:nvGrpSpPr>
            <p:cNvPr id="142" name="Group 141"/>
            <p:cNvGrpSpPr/>
            <p:nvPr/>
          </p:nvGrpSpPr>
          <p:grpSpPr>
            <a:xfrm>
              <a:off x="515936" y="5284465"/>
              <a:ext cx="3788751" cy="1205368"/>
              <a:chOff x="515936" y="5284465"/>
              <a:chExt cx="3788751" cy="1205368"/>
            </a:xfrm>
          </p:grpSpPr>
          <p:sp>
            <p:nvSpPr>
              <p:cNvPr id="170" name="TextBox 192"/>
              <p:cNvSpPr txBox="1"/>
              <p:nvPr/>
            </p:nvSpPr>
            <p:spPr>
              <a:xfrm>
                <a:off x="515936" y="5935835"/>
                <a:ext cx="3788751" cy="55399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</a:t>
                </a:r>
                <a:r>
                  <a:rPr lang="en-US" sz="1200" dirty="0" err="1"/>
                  <a:t>Ipsum</a:t>
                </a:r>
                <a:r>
                  <a:rPr lang="en-US" sz="1200" dirty="0"/>
                  <a:t> is simply dummy text of the printing and typesetting industry. Lorem </a:t>
                </a:r>
                <a:r>
                  <a:rPr lang="en-US" sz="1200" dirty="0" err="1"/>
                  <a:t>Ipsum</a:t>
                </a:r>
                <a:r>
                  <a:rPr lang="en-US" sz="1200" dirty="0"/>
                  <a:t> has been the industry's standard dummy text ever since the 1500s.</a:t>
                </a:r>
              </a:p>
            </p:txBody>
          </p:sp>
          <p:sp>
            <p:nvSpPr>
              <p:cNvPr id="171" name="TextBox 196"/>
              <p:cNvSpPr txBox="1"/>
              <p:nvPr/>
            </p:nvSpPr>
            <p:spPr>
              <a:xfrm>
                <a:off x="515937" y="5502429"/>
                <a:ext cx="1343948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800" b="1" dirty="0">
                    <a:solidFill>
                      <a:srgbClr val="0185CF"/>
                    </a:solidFill>
                  </a:rPr>
                  <a:t>$2.31 M</a:t>
                </a:r>
              </a:p>
            </p:txBody>
          </p:sp>
          <p:grpSp>
            <p:nvGrpSpPr>
              <p:cNvPr id="172" name="Group 171"/>
              <p:cNvGrpSpPr/>
              <p:nvPr/>
            </p:nvGrpSpPr>
            <p:grpSpPr>
              <a:xfrm>
                <a:off x="515937" y="5284465"/>
                <a:ext cx="537479" cy="215444"/>
                <a:chOff x="462646" y="3846067"/>
                <a:chExt cx="537479" cy="215444"/>
              </a:xfrm>
            </p:grpSpPr>
            <p:sp>
              <p:nvSpPr>
                <p:cNvPr id="173" name="TextBox 197"/>
                <p:cNvSpPr txBox="1"/>
                <p:nvPr/>
              </p:nvSpPr>
              <p:spPr>
                <a:xfrm>
                  <a:off x="658043" y="3846067"/>
                  <a:ext cx="342082" cy="215444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400" b="1" dirty="0"/>
                    <a:t>UP</a:t>
                  </a:r>
                </a:p>
              </p:txBody>
            </p:sp>
            <p:grpSp>
              <p:nvGrpSpPr>
                <p:cNvPr id="174" name="Group 173"/>
                <p:cNvGrpSpPr/>
                <p:nvPr/>
              </p:nvGrpSpPr>
              <p:grpSpPr>
                <a:xfrm>
                  <a:off x="462646" y="3873862"/>
                  <a:ext cx="156454" cy="129076"/>
                  <a:chOff x="6080018" y="4295105"/>
                  <a:chExt cx="156454" cy="129076"/>
                </a:xfrm>
              </p:grpSpPr>
              <p:sp>
                <p:nvSpPr>
                  <p:cNvPr id="175" name="Freeform 174"/>
                  <p:cNvSpPr>
                    <a:spLocks/>
                  </p:cNvSpPr>
                  <p:nvPr/>
                </p:nvSpPr>
                <p:spPr bwMode="auto">
                  <a:xfrm>
                    <a:off x="6080018" y="4295105"/>
                    <a:ext cx="156454" cy="83280"/>
                  </a:xfrm>
                  <a:custGeom>
                    <a:avLst/>
                    <a:gdLst>
                      <a:gd name="T0" fmla="*/ 0 w 351"/>
                      <a:gd name="T1" fmla="*/ 176 h 187"/>
                      <a:gd name="T2" fmla="*/ 11 w 351"/>
                      <a:gd name="T3" fmla="*/ 187 h 187"/>
                      <a:gd name="T4" fmla="*/ 340 w 351"/>
                      <a:gd name="T5" fmla="*/ 187 h 187"/>
                      <a:gd name="T6" fmla="*/ 351 w 351"/>
                      <a:gd name="T7" fmla="*/ 176 h 187"/>
                      <a:gd name="T8" fmla="*/ 351 w 351"/>
                      <a:gd name="T9" fmla="*/ 103 h 187"/>
                      <a:gd name="T10" fmla="*/ 341 w 351"/>
                      <a:gd name="T11" fmla="*/ 87 h 187"/>
                      <a:gd name="T12" fmla="*/ 186 w 351"/>
                      <a:gd name="T13" fmla="*/ 3 h 187"/>
                      <a:gd name="T14" fmla="*/ 166 w 351"/>
                      <a:gd name="T15" fmla="*/ 3 h 187"/>
                      <a:gd name="T16" fmla="*/ 10 w 351"/>
                      <a:gd name="T17" fmla="*/ 87 h 187"/>
                      <a:gd name="T18" fmla="*/ 0 w 351"/>
                      <a:gd name="T19" fmla="*/ 104 h 187"/>
                      <a:gd name="T20" fmla="*/ 0 w 351"/>
                      <a:gd name="T21" fmla="*/ 176 h 1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51" h="187">
                        <a:moveTo>
                          <a:pt x="0" y="176"/>
                        </a:moveTo>
                        <a:cubicBezTo>
                          <a:pt x="0" y="182"/>
                          <a:pt x="5" y="187"/>
                          <a:pt x="11" y="187"/>
                        </a:cubicBezTo>
                        <a:cubicBezTo>
                          <a:pt x="340" y="187"/>
                          <a:pt x="340" y="187"/>
                          <a:pt x="340" y="187"/>
                        </a:cubicBezTo>
                        <a:cubicBezTo>
                          <a:pt x="346" y="187"/>
                          <a:pt x="351" y="182"/>
                          <a:pt x="351" y="176"/>
                        </a:cubicBezTo>
                        <a:cubicBezTo>
                          <a:pt x="351" y="103"/>
                          <a:pt x="351" y="103"/>
                          <a:pt x="351" y="103"/>
                        </a:cubicBezTo>
                        <a:cubicBezTo>
                          <a:pt x="351" y="97"/>
                          <a:pt x="347" y="90"/>
                          <a:pt x="341" y="87"/>
                        </a:cubicBezTo>
                        <a:cubicBezTo>
                          <a:pt x="186" y="3"/>
                          <a:pt x="186" y="3"/>
                          <a:pt x="186" y="3"/>
                        </a:cubicBezTo>
                        <a:cubicBezTo>
                          <a:pt x="180" y="0"/>
                          <a:pt x="171" y="0"/>
                          <a:pt x="166" y="3"/>
                        </a:cubicBezTo>
                        <a:cubicBezTo>
                          <a:pt x="10" y="87"/>
                          <a:pt x="10" y="87"/>
                          <a:pt x="10" y="87"/>
                        </a:cubicBezTo>
                        <a:cubicBezTo>
                          <a:pt x="5" y="90"/>
                          <a:pt x="0" y="98"/>
                          <a:pt x="0" y="104"/>
                        </a:cubicBezTo>
                        <a:lnTo>
                          <a:pt x="0" y="176"/>
                        </a:lnTo>
                        <a:close/>
                      </a:path>
                    </a:pathLst>
                  </a:custGeom>
                  <a:solidFill>
                    <a:srgbClr val="AAAAAA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6" name="Freeform 38"/>
                  <p:cNvSpPr>
                    <a:spLocks/>
                  </p:cNvSpPr>
                  <p:nvPr/>
                </p:nvSpPr>
                <p:spPr bwMode="auto">
                  <a:xfrm>
                    <a:off x="6080018" y="4392074"/>
                    <a:ext cx="156454" cy="32107"/>
                  </a:xfrm>
                  <a:prstGeom prst="roundRect">
                    <a:avLst/>
                  </a:prstGeom>
                  <a:solidFill>
                    <a:srgbClr val="AAAAAA"/>
                  </a:solidFill>
                  <a:ln w="1587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</p:grpSp>
        <p:cxnSp>
          <p:nvCxnSpPr>
            <p:cNvPr id="143" name="Straight Connector 142"/>
            <p:cNvCxnSpPr/>
            <p:nvPr/>
          </p:nvCxnSpPr>
          <p:spPr>
            <a:xfrm>
              <a:off x="4543070" y="5364367"/>
              <a:ext cx="0" cy="1125466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4" name="Group 143"/>
            <p:cNvGrpSpPr/>
            <p:nvPr/>
          </p:nvGrpSpPr>
          <p:grpSpPr>
            <a:xfrm>
              <a:off x="4781452" y="5373394"/>
              <a:ext cx="6841572" cy="1116439"/>
              <a:chOff x="4781452" y="5288979"/>
              <a:chExt cx="6841572" cy="1116439"/>
            </a:xfrm>
          </p:grpSpPr>
          <p:grpSp>
            <p:nvGrpSpPr>
              <p:cNvPr id="145" name="Group 144"/>
              <p:cNvGrpSpPr/>
              <p:nvPr/>
            </p:nvGrpSpPr>
            <p:grpSpPr>
              <a:xfrm>
                <a:off x="4781452" y="5288979"/>
                <a:ext cx="6841572" cy="352566"/>
                <a:chOff x="4781452" y="5288979"/>
                <a:chExt cx="6841572" cy="352566"/>
              </a:xfrm>
            </p:grpSpPr>
            <p:grpSp>
              <p:nvGrpSpPr>
                <p:cNvPr id="163" name="Group 162"/>
                <p:cNvGrpSpPr/>
                <p:nvPr/>
              </p:nvGrpSpPr>
              <p:grpSpPr>
                <a:xfrm>
                  <a:off x="4781452" y="5426101"/>
                  <a:ext cx="1454282" cy="215444"/>
                  <a:chOff x="4781452" y="5426101"/>
                  <a:chExt cx="1454282" cy="215444"/>
                </a:xfrm>
              </p:grpSpPr>
              <p:sp>
                <p:nvSpPr>
                  <p:cNvPr id="168" name="TextBox 195"/>
                  <p:cNvSpPr txBox="1"/>
                  <p:nvPr/>
                </p:nvSpPr>
                <p:spPr>
                  <a:xfrm>
                    <a:off x="4781452" y="5426101"/>
                    <a:ext cx="390623" cy="215444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400" b="1" dirty="0"/>
                      <a:t>2015</a:t>
                    </a:r>
                  </a:p>
                </p:txBody>
              </p:sp>
              <p:sp>
                <p:nvSpPr>
                  <p:cNvPr id="169" name="TextBox 214"/>
                  <p:cNvSpPr txBox="1"/>
                  <p:nvPr/>
                </p:nvSpPr>
                <p:spPr>
                  <a:xfrm>
                    <a:off x="5284422" y="5441490"/>
                    <a:ext cx="951312" cy="184666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200" dirty="0"/>
                      <a:t>LOREM IPSUM</a:t>
                    </a:r>
                  </a:p>
                </p:txBody>
              </p:sp>
            </p:grpSp>
            <p:sp>
              <p:nvSpPr>
                <p:cNvPr id="164" name="Line 6"/>
                <p:cNvSpPr>
                  <a:spLocks noChangeShapeType="1"/>
                </p:cNvSpPr>
                <p:nvPr/>
              </p:nvSpPr>
              <p:spPr bwMode="auto">
                <a:xfrm>
                  <a:off x="6348082" y="5518434"/>
                  <a:ext cx="5274942" cy="0"/>
                </a:xfrm>
                <a:prstGeom prst="line">
                  <a:avLst/>
                </a:prstGeom>
                <a:noFill/>
                <a:ln w="57150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65" name="Group 164"/>
                <p:cNvGrpSpPr/>
                <p:nvPr/>
              </p:nvGrpSpPr>
              <p:grpSpPr>
                <a:xfrm>
                  <a:off x="7353009" y="5288979"/>
                  <a:ext cx="468436" cy="229455"/>
                  <a:chOff x="6452299" y="3583064"/>
                  <a:chExt cx="360000" cy="229455"/>
                </a:xfrm>
              </p:grpSpPr>
              <p:sp>
                <p:nvSpPr>
                  <p:cNvPr id="166" name="Line 6"/>
                  <p:cNvSpPr>
                    <a:spLocks noChangeShapeType="1"/>
                  </p:cNvSpPr>
                  <p:nvPr/>
                </p:nvSpPr>
                <p:spPr bwMode="auto">
                  <a:xfrm>
                    <a:off x="6452299" y="3812519"/>
                    <a:ext cx="360000" cy="0"/>
                  </a:xfrm>
                  <a:prstGeom prst="line">
                    <a:avLst/>
                  </a:prstGeom>
                  <a:noFill/>
                  <a:ln w="107950" cap="rnd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7" name="TextBox 216"/>
                  <p:cNvSpPr txBox="1"/>
                  <p:nvPr/>
                </p:nvSpPr>
                <p:spPr>
                  <a:xfrm>
                    <a:off x="6452299" y="3583064"/>
                    <a:ext cx="360000" cy="184666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sz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</a:rPr>
                      <a:t>20%</a:t>
                    </a:r>
                  </a:p>
                </p:txBody>
              </p:sp>
            </p:grpSp>
          </p:grpSp>
          <p:grpSp>
            <p:nvGrpSpPr>
              <p:cNvPr id="146" name="Group 145"/>
              <p:cNvGrpSpPr/>
              <p:nvPr/>
            </p:nvGrpSpPr>
            <p:grpSpPr>
              <a:xfrm>
                <a:off x="4781452" y="5670915"/>
                <a:ext cx="6841572" cy="352566"/>
                <a:chOff x="4781452" y="5670916"/>
                <a:chExt cx="6841572" cy="352566"/>
              </a:xfrm>
            </p:grpSpPr>
            <p:grpSp>
              <p:nvGrpSpPr>
                <p:cNvPr id="156" name="Group 155"/>
                <p:cNvGrpSpPr/>
                <p:nvPr/>
              </p:nvGrpSpPr>
              <p:grpSpPr>
                <a:xfrm>
                  <a:off x="4781452" y="5808038"/>
                  <a:ext cx="1454282" cy="215444"/>
                  <a:chOff x="4781452" y="5808038"/>
                  <a:chExt cx="1454282" cy="215444"/>
                </a:xfrm>
              </p:grpSpPr>
              <p:sp>
                <p:nvSpPr>
                  <p:cNvPr id="161" name="TextBox 220"/>
                  <p:cNvSpPr txBox="1"/>
                  <p:nvPr/>
                </p:nvSpPr>
                <p:spPr>
                  <a:xfrm>
                    <a:off x="4781452" y="5808038"/>
                    <a:ext cx="390623" cy="215444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400" b="1" dirty="0"/>
                      <a:t>2016</a:t>
                    </a:r>
                  </a:p>
                </p:txBody>
              </p:sp>
              <p:sp>
                <p:nvSpPr>
                  <p:cNvPr id="162" name="TextBox 222"/>
                  <p:cNvSpPr txBox="1"/>
                  <p:nvPr/>
                </p:nvSpPr>
                <p:spPr>
                  <a:xfrm>
                    <a:off x="5284422" y="5823427"/>
                    <a:ext cx="951312" cy="184666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200" dirty="0"/>
                      <a:t>LOREM IPSUM</a:t>
                    </a:r>
                  </a:p>
                </p:txBody>
              </p:sp>
            </p:grpSp>
            <p:sp>
              <p:nvSpPr>
                <p:cNvPr id="157" name="Line 6"/>
                <p:cNvSpPr>
                  <a:spLocks noChangeShapeType="1"/>
                </p:cNvSpPr>
                <p:nvPr/>
              </p:nvSpPr>
              <p:spPr bwMode="auto">
                <a:xfrm>
                  <a:off x="6348082" y="5900371"/>
                  <a:ext cx="5274942" cy="0"/>
                </a:xfrm>
                <a:prstGeom prst="line">
                  <a:avLst/>
                </a:prstGeom>
                <a:noFill/>
                <a:ln w="57150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58" name="Group 157"/>
                <p:cNvGrpSpPr/>
                <p:nvPr/>
              </p:nvGrpSpPr>
              <p:grpSpPr>
                <a:xfrm>
                  <a:off x="8751335" y="5670916"/>
                  <a:ext cx="468436" cy="229455"/>
                  <a:chOff x="6452299" y="3583064"/>
                  <a:chExt cx="360000" cy="229455"/>
                </a:xfrm>
              </p:grpSpPr>
              <p:sp>
                <p:nvSpPr>
                  <p:cNvPr id="159" name="Line 6"/>
                  <p:cNvSpPr>
                    <a:spLocks noChangeShapeType="1"/>
                  </p:cNvSpPr>
                  <p:nvPr/>
                </p:nvSpPr>
                <p:spPr bwMode="auto">
                  <a:xfrm>
                    <a:off x="6452299" y="3812519"/>
                    <a:ext cx="360000" cy="0"/>
                  </a:xfrm>
                  <a:prstGeom prst="line">
                    <a:avLst/>
                  </a:prstGeom>
                  <a:noFill/>
                  <a:ln w="107950" cap="rnd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TextBox 225"/>
                  <p:cNvSpPr txBox="1"/>
                  <p:nvPr/>
                </p:nvSpPr>
                <p:spPr>
                  <a:xfrm>
                    <a:off x="6452299" y="3583064"/>
                    <a:ext cx="360000" cy="184666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sz="1200" dirty="0"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</a:rPr>
                      <a:t>50%</a:t>
                    </a:r>
                  </a:p>
                </p:txBody>
              </p:sp>
            </p:grpSp>
          </p:grpSp>
          <p:grpSp>
            <p:nvGrpSpPr>
              <p:cNvPr id="147" name="Group 146"/>
              <p:cNvGrpSpPr/>
              <p:nvPr/>
            </p:nvGrpSpPr>
            <p:grpSpPr>
              <a:xfrm>
                <a:off x="4781452" y="6052852"/>
                <a:ext cx="6841572" cy="352566"/>
                <a:chOff x="4781452" y="6052852"/>
                <a:chExt cx="6841572" cy="352566"/>
              </a:xfrm>
            </p:grpSpPr>
            <p:grpSp>
              <p:nvGrpSpPr>
                <p:cNvPr id="148" name="Group 147"/>
                <p:cNvGrpSpPr/>
                <p:nvPr/>
              </p:nvGrpSpPr>
              <p:grpSpPr>
                <a:xfrm>
                  <a:off x="4781452" y="6189974"/>
                  <a:ext cx="1454282" cy="215444"/>
                  <a:chOff x="4781452" y="6189974"/>
                  <a:chExt cx="1454282" cy="215444"/>
                </a:xfrm>
              </p:grpSpPr>
              <p:sp>
                <p:nvSpPr>
                  <p:cNvPr id="154" name="TextBox 227"/>
                  <p:cNvSpPr txBox="1"/>
                  <p:nvPr/>
                </p:nvSpPr>
                <p:spPr>
                  <a:xfrm>
                    <a:off x="4781452" y="6189974"/>
                    <a:ext cx="390623" cy="215444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400" b="1" dirty="0">
                        <a:solidFill>
                          <a:srgbClr val="0185CF"/>
                        </a:solidFill>
                      </a:rPr>
                      <a:t>2017</a:t>
                    </a:r>
                  </a:p>
                </p:txBody>
              </p:sp>
              <p:sp>
                <p:nvSpPr>
                  <p:cNvPr id="155" name="TextBox 229"/>
                  <p:cNvSpPr txBox="1"/>
                  <p:nvPr/>
                </p:nvSpPr>
                <p:spPr>
                  <a:xfrm>
                    <a:off x="5284422" y="6205363"/>
                    <a:ext cx="951312" cy="184666"/>
                  </a:xfrm>
                  <a:prstGeom prst="rect">
                    <a:avLst/>
                  </a:prstGeom>
                  <a:noFill/>
                  <a:ln w="6350">
                    <a:noFill/>
                    <a:prstDash val="dash"/>
                  </a:ln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200" dirty="0"/>
                      <a:t>LOREM IPSUM</a:t>
                    </a:r>
                  </a:p>
                </p:txBody>
              </p:sp>
            </p:grpSp>
            <p:grpSp>
              <p:nvGrpSpPr>
                <p:cNvPr id="149" name="Group 148"/>
                <p:cNvGrpSpPr/>
                <p:nvPr/>
              </p:nvGrpSpPr>
              <p:grpSpPr>
                <a:xfrm>
                  <a:off x="6348082" y="6052852"/>
                  <a:ext cx="5274942" cy="229455"/>
                  <a:chOff x="6348082" y="6052852"/>
                  <a:chExt cx="5274942" cy="229455"/>
                </a:xfrm>
              </p:grpSpPr>
              <p:sp>
                <p:nvSpPr>
                  <p:cNvPr id="150" name="Line 6"/>
                  <p:cNvSpPr>
                    <a:spLocks noChangeShapeType="1"/>
                  </p:cNvSpPr>
                  <p:nvPr/>
                </p:nvSpPr>
                <p:spPr bwMode="auto">
                  <a:xfrm>
                    <a:off x="6348082" y="6282307"/>
                    <a:ext cx="5274942" cy="0"/>
                  </a:xfrm>
                  <a:prstGeom prst="line">
                    <a:avLst/>
                  </a:prstGeom>
                  <a:noFill/>
                  <a:ln w="57150" cap="rnd">
                    <a:solidFill>
                      <a:schemeClr val="bg1">
                        <a:lumMod val="85000"/>
                      </a:schemeClr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120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151" name="Group 150"/>
                  <p:cNvGrpSpPr/>
                  <p:nvPr/>
                </p:nvGrpSpPr>
                <p:grpSpPr>
                  <a:xfrm>
                    <a:off x="10085988" y="6052852"/>
                    <a:ext cx="468436" cy="229455"/>
                    <a:chOff x="6452299" y="3583064"/>
                    <a:chExt cx="360000" cy="229455"/>
                  </a:xfrm>
                </p:grpSpPr>
                <p:sp>
                  <p:nvSpPr>
                    <p:cNvPr id="152" name="Line 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6452299" y="3812519"/>
                      <a:ext cx="360000" cy="0"/>
                    </a:xfrm>
                    <a:prstGeom prst="line">
                      <a:avLst/>
                    </a:prstGeom>
                    <a:noFill/>
                    <a:ln w="107950" cap="rnd">
                      <a:solidFill>
                        <a:srgbClr val="0185CF"/>
                      </a:solidFill>
                      <a:prstDash val="solid"/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12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53" name="TextBox 232"/>
                    <p:cNvSpPr txBox="1"/>
                    <p:nvPr/>
                  </p:nvSpPr>
                  <p:spPr>
                    <a:xfrm>
                      <a:off x="6452299" y="3583064"/>
                      <a:ext cx="360000" cy="184666"/>
                    </a:xfrm>
                    <a:prstGeom prst="rect">
                      <a:avLst/>
                    </a:prstGeom>
                    <a:noFill/>
                    <a:ln w="6350">
                      <a:noFill/>
                      <a:prstDash val="dash"/>
                    </a:ln>
                  </p:spPr>
                  <p:txBody>
                    <a:bodyPr wrap="square" lIns="0" tIns="0" rIns="0" bIns="0" rtlCol="0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rgbClr val="0185CF"/>
                          </a:solidFill>
                        </a:rPr>
                        <a:t>70%</a:t>
                      </a:r>
                    </a:p>
                  </p:txBody>
                </p:sp>
              </p:grpSp>
            </p:grpSp>
          </p:grpSp>
        </p:grpSp>
      </p:grpSp>
      <p:grpSp>
        <p:nvGrpSpPr>
          <p:cNvPr id="282" name="Group 281"/>
          <p:cNvGrpSpPr/>
          <p:nvPr/>
        </p:nvGrpSpPr>
        <p:grpSpPr>
          <a:xfrm>
            <a:off x="678496" y="1500481"/>
            <a:ext cx="200025" cy="287338"/>
            <a:chOff x="10502900" y="815975"/>
            <a:chExt cx="200025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83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7" name="Freeform 4197"/>
          <p:cNvSpPr>
            <a:spLocks noEditPoints="1"/>
          </p:cNvSpPr>
          <p:nvPr/>
        </p:nvSpPr>
        <p:spPr bwMode="auto">
          <a:xfrm>
            <a:off x="640722" y="3438127"/>
            <a:ext cx="285750" cy="261938"/>
          </a:xfrm>
          <a:custGeom>
            <a:avLst/>
            <a:gdLst>
              <a:gd name="T0" fmla="*/ 540 w 901"/>
              <a:gd name="T1" fmla="*/ 161 h 826"/>
              <a:gd name="T2" fmla="*/ 360 w 901"/>
              <a:gd name="T3" fmla="*/ 255 h 826"/>
              <a:gd name="T4" fmla="*/ 360 w 901"/>
              <a:gd name="T5" fmla="*/ 255 h 826"/>
              <a:gd name="T6" fmla="*/ 201 w 901"/>
              <a:gd name="T7" fmla="*/ 255 h 826"/>
              <a:gd name="T8" fmla="*/ 749 w 901"/>
              <a:gd name="T9" fmla="*/ 46 h 826"/>
              <a:gd name="T10" fmla="*/ 692 w 901"/>
              <a:gd name="T11" fmla="*/ 248 h 826"/>
              <a:gd name="T12" fmla="*/ 568 w 901"/>
              <a:gd name="T13" fmla="*/ 103 h 826"/>
              <a:gd name="T14" fmla="*/ 556 w 901"/>
              <a:gd name="T15" fmla="*/ 104 h 826"/>
              <a:gd name="T16" fmla="*/ 341 w 901"/>
              <a:gd name="T17" fmla="*/ 135 h 826"/>
              <a:gd name="T18" fmla="*/ 333 w 901"/>
              <a:gd name="T19" fmla="*/ 141 h 826"/>
              <a:gd name="T20" fmla="*/ 330 w 901"/>
              <a:gd name="T21" fmla="*/ 255 h 826"/>
              <a:gd name="T22" fmla="*/ 120 w 901"/>
              <a:gd name="T23" fmla="*/ 4 h 826"/>
              <a:gd name="T24" fmla="*/ 109 w 901"/>
              <a:gd name="T25" fmla="*/ 0 h 826"/>
              <a:gd name="T26" fmla="*/ 5 w 901"/>
              <a:gd name="T27" fmla="*/ 48 h 826"/>
              <a:gd name="T28" fmla="*/ 0 w 901"/>
              <a:gd name="T29" fmla="*/ 58 h 826"/>
              <a:gd name="T30" fmla="*/ 82 w 901"/>
              <a:gd name="T31" fmla="*/ 255 h 826"/>
              <a:gd name="T32" fmla="*/ 5 w 901"/>
              <a:gd name="T33" fmla="*/ 259 h 826"/>
              <a:gd name="T34" fmla="*/ 0 w 901"/>
              <a:gd name="T35" fmla="*/ 271 h 826"/>
              <a:gd name="T36" fmla="*/ 120 w 901"/>
              <a:gd name="T37" fmla="*/ 643 h 826"/>
              <a:gd name="T38" fmla="*/ 589 w 901"/>
              <a:gd name="T39" fmla="*/ 676 h 826"/>
              <a:gd name="T40" fmla="*/ 157 w 901"/>
              <a:gd name="T41" fmla="*/ 679 h 826"/>
              <a:gd name="T42" fmla="*/ 131 w 901"/>
              <a:gd name="T43" fmla="*/ 693 h 826"/>
              <a:gd name="T44" fmla="*/ 113 w 901"/>
              <a:gd name="T45" fmla="*/ 716 h 826"/>
              <a:gd name="T46" fmla="*/ 105 w 901"/>
              <a:gd name="T47" fmla="*/ 744 h 826"/>
              <a:gd name="T48" fmla="*/ 108 w 901"/>
              <a:gd name="T49" fmla="*/ 774 h 826"/>
              <a:gd name="T50" fmla="*/ 122 w 901"/>
              <a:gd name="T51" fmla="*/ 798 h 826"/>
              <a:gd name="T52" fmla="*/ 144 w 901"/>
              <a:gd name="T53" fmla="*/ 818 h 826"/>
              <a:gd name="T54" fmla="*/ 172 w 901"/>
              <a:gd name="T55" fmla="*/ 826 h 826"/>
              <a:gd name="T56" fmla="*/ 202 w 901"/>
              <a:gd name="T57" fmla="*/ 823 h 826"/>
              <a:gd name="T58" fmla="*/ 228 w 901"/>
              <a:gd name="T59" fmla="*/ 809 h 826"/>
              <a:gd name="T60" fmla="*/ 246 w 901"/>
              <a:gd name="T61" fmla="*/ 787 h 826"/>
              <a:gd name="T62" fmla="*/ 255 w 901"/>
              <a:gd name="T63" fmla="*/ 759 h 826"/>
              <a:gd name="T64" fmla="*/ 246 w 901"/>
              <a:gd name="T65" fmla="*/ 716 h 826"/>
              <a:gd name="T66" fmla="*/ 514 w 901"/>
              <a:gd name="T67" fmla="*/ 727 h 826"/>
              <a:gd name="T68" fmla="*/ 512 w 901"/>
              <a:gd name="T69" fmla="*/ 766 h 826"/>
              <a:gd name="T70" fmla="*/ 523 w 901"/>
              <a:gd name="T71" fmla="*/ 793 h 826"/>
              <a:gd name="T72" fmla="*/ 543 w 901"/>
              <a:gd name="T73" fmla="*/ 813 h 826"/>
              <a:gd name="T74" fmla="*/ 570 w 901"/>
              <a:gd name="T75" fmla="*/ 825 h 826"/>
              <a:gd name="T76" fmla="*/ 601 w 901"/>
              <a:gd name="T77" fmla="*/ 825 h 826"/>
              <a:gd name="T78" fmla="*/ 628 w 901"/>
              <a:gd name="T79" fmla="*/ 813 h 826"/>
              <a:gd name="T80" fmla="*/ 648 w 901"/>
              <a:gd name="T81" fmla="*/ 793 h 826"/>
              <a:gd name="T82" fmla="*/ 659 w 901"/>
              <a:gd name="T83" fmla="*/ 766 h 826"/>
              <a:gd name="T84" fmla="*/ 658 w 901"/>
              <a:gd name="T85" fmla="*/ 730 h 826"/>
              <a:gd name="T86" fmla="*/ 635 w 901"/>
              <a:gd name="T87" fmla="*/ 695 h 826"/>
              <a:gd name="T88" fmla="*/ 630 w 901"/>
              <a:gd name="T89" fmla="*/ 635 h 826"/>
              <a:gd name="T90" fmla="*/ 886 w 901"/>
              <a:gd name="T91" fmla="*/ 75 h 826"/>
              <a:gd name="T92" fmla="*/ 897 w 901"/>
              <a:gd name="T93" fmla="*/ 70 h 826"/>
              <a:gd name="T94" fmla="*/ 901 w 901"/>
              <a:gd name="T95" fmla="*/ 60 h 826"/>
              <a:gd name="T96" fmla="*/ 897 w 901"/>
              <a:gd name="T97" fmla="*/ 49 h 826"/>
              <a:gd name="T98" fmla="*/ 886 w 901"/>
              <a:gd name="T99" fmla="*/ 45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901" h="826">
                <a:moveTo>
                  <a:pt x="442" y="255"/>
                </a:moveTo>
                <a:lnTo>
                  <a:pt x="540" y="161"/>
                </a:lnTo>
                <a:lnTo>
                  <a:pt x="540" y="161"/>
                </a:lnTo>
                <a:lnTo>
                  <a:pt x="540" y="161"/>
                </a:lnTo>
                <a:lnTo>
                  <a:pt x="562" y="139"/>
                </a:lnTo>
                <a:lnTo>
                  <a:pt x="659" y="255"/>
                </a:lnTo>
                <a:lnTo>
                  <a:pt x="442" y="255"/>
                </a:lnTo>
                <a:close/>
                <a:moveTo>
                  <a:pt x="360" y="255"/>
                </a:moveTo>
                <a:lnTo>
                  <a:pt x="360" y="165"/>
                </a:lnTo>
                <a:lnTo>
                  <a:pt x="493" y="165"/>
                </a:lnTo>
                <a:lnTo>
                  <a:pt x="399" y="255"/>
                </a:lnTo>
                <a:lnTo>
                  <a:pt x="360" y="255"/>
                </a:lnTo>
                <a:close/>
                <a:moveTo>
                  <a:pt x="114" y="255"/>
                </a:moveTo>
                <a:lnTo>
                  <a:pt x="34" y="67"/>
                </a:lnTo>
                <a:lnTo>
                  <a:pt x="101" y="35"/>
                </a:lnTo>
                <a:lnTo>
                  <a:pt x="201" y="255"/>
                </a:lnTo>
                <a:lnTo>
                  <a:pt x="114" y="255"/>
                </a:lnTo>
                <a:close/>
                <a:moveTo>
                  <a:pt x="886" y="45"/>
                </a:moveTo>
                <a:lnTo>
                  <a:pt x="753" y="45"/>
                </a:lnTo>
                <a:lnTo>
                  <a:pt x="749" y="46"/>
                </a:lnTo>
                <a:lnTo>
                  <a:pt x="745" y="48"/>
                </a:lnTo>
                <a:lnTo>
                  <a:pt x="740" y="51"/>
                </a:lnTo>
                <a:lnTo>
                  <a:pt x="739" y="57"/>
                </a:lnTo>
                <a:lnTo>
                  <a:pt x="692" y="248"/>
                </a:lnTo>
                <a:lnTo>
                  <a:pt x="575" y="107"/>
                </a:lnTo>
                <a:lnTo>
                  <a:pt x="573" y="105"/>
                </a:lnTo>
                <a:lnTo>
                  <a:pt x="571" y="104"/>
                </a:lnTo>
                <a:lnTo>
                  <a:pt x="568" y="103"/>
                </a:lnTo>
                <a:lnTo>
                  <a:pt x="564" y="102"/>
                </a:lnTo>
                <a:lnTo>
                  <a:pt x="561" y="102"/>
                </a:lnTo>
                <a:lnTo>
                  <a:pt x="559" y="103"/>
                </a:lnTo>
                <a:lnTo>
                  <a:pt x="556" y="104"/>
                </a:lnTo>
                <a:lnTo>
                  <a:pt x="554" y="106"/>
                </a:lnTo>
                <a:lnTo>
                  <a:pt x="524" y="135"/>
                </a:lnTo>
                <a:lnTo>
                  <a:pt x="345" y="135"/>
                </a:lnTo>
                <a:lnTo>
                  <a:pt x="341" y="135"/>
                </a:lnTo>
                <a:lnTo>
                  <a:pt x="339" y="136"/>
                </a:lnTo>
                <a:lnTo>
                  <a:pt x="336" y="138"/>
                </a:lnTo>
                <a:lnTo>
                  <a:pt x="334" y="139"/>
                </a:lnTo>
                <a:lnTo>
                  <a:pt x="333" y="141"/>
                </a:lnTo>
                <a:lnTo>
                  <a:pt x="331" y="144"/>
                </a:lnTo>
                <a:lnTo>
                  <a:pt x="331" y="147"/>
                </a:lnTo>
                <a:lnTo>
                  <a:pt x="330" y="150"/>
                </a:lnTo>
                <a:lnTo>
                  <a:pt x="330" y="255"/>
                </a:lnTo>
                <a:lnTo>
                  <a:pt x="234" y="255"/>
                </a:lnTo>
                <a:lnTo>
                  <a:pt x="123" y="8"/>
                </a:lnTo>
                <a:lnTo>
                  <a:pt x="122" y="6"/>
                </a:lnTo>
                <a:lnTo>
                  <a:pt x="120" y="4"/>
                </a:lnTo>
                <a:lnTo>
                  <a:pt x="117" y="2"/>
                </a:lnTo>
                <a:lnTo>
                  <a:pt x="114" y="1"/>
                </a:lnTo>
                <a:lnTo>
                  <a:pt x="111" y="0"/>
                </a:lnTo>
                <a:lnTo>
                  <a:pt x="109" y="0"/>
                </a:lnTo>
                <a:lnTo>
                  <a:pt x="106" y="0"/>
                </a:lnTo>
                <a:lnTo>
                  <a:pt x="102" y="1"/>
                </a:lnTo>
                <a:lnTo>
                  <a:pt x="8" y="46"/>
                </a:lnTo>
                <a:lnTo>
                  <a:pt x="5" y="48"/>
                </a:lnTo>
                <a:lnTo>
                  <a:pt x="3" y="50"/>
                </a:lnTo>
                <a:lnTo>
                  <a:pt x="2" y="52"/>
                </a:lnTo>
                <a:lnTo>
                  <a:pt x="1" y="54"/>
                </a:lnTo>
                <a:lnTo>
                  <a:pt x="0" y="58"/>
                </a:lnTo>
                <a:lnTo>
                  <a:pt x="0" y="60"/>
                </a:lnTo>
                <a:lnTo>
                  <a:pt x="0" y="63"/>
                </a:lnTo>
                <a:lnTo>
                  <a:pt x="1" y="66"/>
                </a:lnTo>
                <a:lnTo>
                  <a:pt x="82" y="255"/>
                </a:lnTo>
                <a:lnTo>
                  <a:pt x="15" y="255"/>
                </a:lnTo>
                <a:lnTo>
                  <a:pt x="11" y="256"/>
                </a:lnTo>
                <a:lnTo>
                  <a:pt x="7" y="257"/>
                </a:lnTo>
                <a:lnTo>
                  <a:pt x="5" y="259"/>
                </a:lnTo>
                <a:lnTo>
                  <a:pt x="2" y="261"/>
                </a:lnTo>
                <a:lnTo>
                  <a:pt x="1" y="265"/>
                </a:lnTo>
                <a:lnTo>
                  <a:pt x="0" y="268"/>
                </a:lnTo>
                <a:lnTo>
                  <a:pt x="0" y="271"/>
                </a:lnTo>
                <a:lnTo>
                  <a:pt x="1" y="275"/>
                </a:lnTo>
                <a:lnTo>
                  <a:pt x="114" y="635"/>
                </a:lnTo>
                <a:lnTo>
                  <a:pt x="116" y="640"/>
                </a:lnTo>
                <a:lnTo>
                  <a:pt x="120" y="643"/>
                </a:lnTo>
                <a:lnTo>
                  <a:pt x="123" y="645"/>
                </a:lnTo>
                <a:lnTo>
                  <a:pt x="128" y="646"/>
                </a:lnTo>
                <a:lnTo>
                  <a:pt x="596" y="646"/>
                </a:lnTo>
                <a:lnTo>
                  <a:pt x="589" y="676"/>
                </a:lnTo>
                <a:lnTo>
                  <a:pt x="180" y="676"/>
                </a:lnTo>
                <a:lnTo>
                  <a:pt x="172" y="676"/>
                </a:lnTo>
                <a:lnTo>
                  <a:pt x="165" y="677"/>
                </a:lnTo>
                <a:lnTo>
                  <a:pt x="157" y="679"/>
                </a:lnTo>
                <a:lnTo>
                  <a:pt x="151" y="682"/>
                </a:lnTo>
                <a:lnTo>
                  <a:pt x="144" y="685"/>
                </a:lnTo>
                <a:lnTo>
                  <a:pt x="138" y="689"/>
                </a:lnTo>
                <a:lnTo>
                  <a:pt x="131" y="693"/>
                </a:lnTo>
                <a:lnTo>
                  <a:pt x="127" y="698"/>
                </a:lnTo>
                <a:lnTo>
                  <a:pt x="122" y="703"/>
                </a:lnTo>
                <a:lnTo>
                  <a:pt x="117" y="709"/>
                </a:lnTo>
                <a:lnTo>
                  <a:pt x="113" y="716"/>
                </a:lnTo>
                <a:lnTo>
                  <a:pt x="110" y="722"/>
                </a:lnTo>
                <a:lnTo>
                  <a:pt x="108" y="729"/>
                </a:lnTo>
                <a:lnTo>
                  <a:pt x="106" y="736"/>
                </a:lnTo>
                <a:lnTo>
                  <a:pt x="105" y="744"/>
                </a:lnTo>
                <a:lnTo>
                  <a:pt x="105" y="751"/>
                </a:lnTo>
                <a:lnTo>
                  <a:pt x="105" y="759"/>
                </a:lnTo>
                <a:lnTo>
                  <a:pt x="106" y="766"/>
                </a:lnTo>
                <a:lnTo>
                  <a:pt x="108" y="774"/>
                </a:lnTo>
                <a:lnTo>
                  <a:pt x="110" y="780"/>
                </a:lnTo>
                <a:lnTo>
                  <a:pt x="113" y="787"/>
                </a:lnTo>
                <a:lnTo>
                  <a:pt x="117" y="793"/>
                </a:lnTo>
                <a:lnTo>
                  <a:pt x="122" y="798"/>
                </a:lnTo>
                <a:lnTo>
                  <a:pt x="127" y="804"/>
                </a:lnTo>
                <a:lnTo>
                  <a:pt x="131" y="809"/>
                </a:lnTo>
                <a:lnTo>
                  <a:pt x="138" y="813"/>
                </a:lnTo>
                <a:lnTo>
                  <a:pt x="144" y="818"/>
                </a:lnTo>
                <a:lnTo>
                  <a:pt x="151" y="821"/>
                </a:lnTo>
                <a:lnTo>
                  <a:pt x="157" y="823"/>
                </a:lnTo>
                <a:lnTo>
                  <a:pt x="165" y="825"/>
                </a:lnTo>
                <a:lnTo>
                  <a:pt x="172" y="826"/>
                </a:lnTo>
                <a:lnTo>
                  <a:pt x="180" y="826"/>
                </a:lnTo>
                <a:lnTo>
                  <a:pt x="187" y="826"/>
                </a:lnTo>
                <a:lnTo>
                  <a:pt x="195" y="825"/>
                </a:lnTo>
                <a:lnTo>
                  <a:pt x="202" y="823"/>
                </a:lnTo>
                <a:lnTo>
                  <a:pt x="209" y="821"/>
                </a:lnTo>
                <a:lnTo>
                  <a:pt x="215" y="818"/>
                </a:lnTo>
                <a:lnTo>
                  <a:pt x="221" y="813"/>
                </a:lnTo>
                <a:lnTo>
                  <a:pt x="228" y="809"/>
                </a:lnTo>
                <a:lnTo>
                  <a:pt x="233" y="804"/>
                </a:lnTo>
                <a:lnTo>
                  <a:pt x="238" y="798"/>
                </a:lnTo>
                <a:lnTo>
                  <a:pt x="242" y="793"/>
                </a:lnTo>
                <a:lnTo>
                  <a:pt x="246" y="787"/>
                </a:lnTo>
                <a:lnTo>
                  <a:pt x="249" y="780"/>
                </a:lnTo>
                <a:lnTo>
                  <a:pt x="251" y="774"/>
                </a:lnTo>
                <a:lnTo>
                  <a:pt x="254" y="766"/>
                </a:lnTo>
                <a:lnTo>
                  <a:pt x="255" y="759"/>
                </a:lnTo>
                <a:lnTo>
                  <a:pt x="255" y="751"/>
                </a:lnTo>
                <a:lnTo>
                  <a:pt x="254" y="738"/>
                </a:lnTo>
                <a:lnTo>
                  <a:pt x="250" y="727"/>
                </a:lnTo>
                <a:lnTo>
                  <a:pt x="246" y="716"/>
                </a:lnTo>
                <a:lnTo>
                  <a:pt x="240" y="706"/>
                </a:lnTo>
                <a:lnTo>
                  <a:pt x="526" y="706"/>
                </a:lnTo>
                <a:lnTo>
                  <a:pt x="519" y="716"/>
                </a:lnTo>
                <a:lnTo>
                  <a:pt x="514" y="727"/>
                </a:lnTo>
                <a:lnTo>
                  <a:pt x="511" y="738"/>
                </a:lnTo>
                <a:lnTo>
                  <a:pt x="510" y="751"/>
                </a:lnTo>
                <a:lnTo>
                  <a:pt x="511" y="759"/>
                </a:lnTo>
                <a:lnTo>
                  <a:pt x="512" y="766"/>
                </a:lnTo>
                <a:lnTo>
                  <a:pt x="514" y="774"/>
                </a:lnTo>
                <a:lnTo>
                  <a:pt x="516" y="780"/>
                </a:lnTo>
                <a:lnTo>
                  <a:pt x="519" y="787"/>
                </a:lnTo>
                <a:lnTo>
                  <a:pt x="523" y="793"/>
                </a:lnTo>
                <a:lnTo>
                  <a:pt x="528" y="798"/>
                </a:lnTo>
                <a:lnTo>
                  <a:pt x="532" y="804"/>
                </a:lnTo>
                <a:lnTo>
                  <a:pt x="538" y="809"/>
                </a:lnTo>
                <a:lnTo>
                  <a:pt x="543" y="813"/>
                </a:lnTo>
                <a:lnTo>
                  <a:pt x="549" y="818"/>
                </a:lnTo>
                <a:lnTo>
                  <a:pt x="556" y="821"/>
                </a:lnTo>
                <a:lnTo>
                  <a:pt x="563" y="823"/>
                </a:lnTo>
                <a:lnTo>
                  <a:pt x="570" y="825"/>
                </a:lnTo>
                <a:lnTo>
                  <a:pt x="577" y="826"/>
                </a:lnTo>
                <a:lnTo>
                  <a:pt x="586" y="826"/>
                </a:lnTo>
                <a:lnTo>
                  <a:pt x="593" y="826"/>
                </a:lnTo>
                <a:lnTo>
                  <a:pt x="601" y="825"/>
                </a:lnTo>
                <a:lnTo>
                  <a:pt x="607" y="823"/>
                </a:lnTo>
                <a:lnTo>
                  <a:pt x="615" y="821"/>
                </a:lnTo>
                <a:lnTo>
                  <a:pt x="621" y="818"/>
                </a:lnTo>
                <a:lnTo>
                  <a:pt x="628" y="813"/>
                </a:lnTo>
                <a:lnTo>
                  <a:pt x="633" y="809"/>
                </a:lnTo>
                <a:lnTo>
                  <a:pt x="638" y="804"/>
                </a:lnTo>
                <a:lnTo>
                  <a:pt x="644" y="798"/>
                </a:lnTo>
                <a:lnTo>
                  <a:pt x="648" y="793"/>
                </a:lnTo>
                <a:lnTo>
                  <a:pt x="651" y="787"/>
                </a:lnTo>
                <a:lnTo>
                  <a:pt x="654" y="780"/>
                </a:lnTo>
                <a:lnTo>
                  <a:pt x="658" y="774"/>
                </a:lnTo>
                <a:lnTo>
                  <a:pt x="659" y="766"/>
                </a:lnTo>
                <a:lnTo>
                  <a:pt x="660" y="759"/>
                </a:lnTo>
                <a:lnTo>
                  <a:pt x="661" y="751"/>
                </a:lnTo>
                <a:lnTo>
                  <a:pt x="660" y="740"/>
                </a:lnTo>
                <a:lnTo>
                  <a:pt x="658" y="730"/>
                </a:lnTo>
                <a:lnTo>
                  <a:pt x="653" y="720"/>
                </a:lnTo>
                <a:lnTo>
                  <a:pt x="649" y="710"/>
                </a:lnTo>
                <a:lnTo>
                  <a:pt x="643" y="702"/>
                </a:lnTo>
                <a:lnTo>
                  <a:pt x="635" y="695"/>
                </a:lnTo>
                <a:lnTo>
                  <a:pt x="627" y="689"/>
                </a:lnTo>
                <a:lnTo>
                  <a:pt x="618" y="684"/>
                </a:lnTo>
                <a:lnTo>
                  <a:pt x="629" y="637"/>
                </a:lnTo>
                <a:lnTo>
                  <a:pt x="630" y="635"/>
                </a:lnTo>
                <a:lnTo>
                  <a:pt x="630" y="634"/>
                </a:lnTo>
                <a:lnTo>
                  <a:pt x="717" y="274"/>
                </a:lnTo>
                <a:lnTo>
                  <a:pt x="765" y="75"/>
                </a:lnTo>
                <a:lnTo>
                  <a:pt x="886" y="75"/>
                </a:lnTo>
                <a:lnTo>
                  <a:pt x="889" y="75"/>
                </a:lnTo>
                <a:lnTo>
                  <a:pt x="891" y="74"/>
                </a:lnTo>
                <a:lnTo>
                  <a:pt x="895" y="73"/>
                </a:lnTo>
                <a:lnTo>
                  <a:pt x="897" y="70"/>
                </a:lnTo>
                <a:lnTo>
                  <a:pt x="899" y="68"/>
                </a:lnTo>
                <a:lnTo>
                  <a:pt x="900" y="66"/>
                </a:lnTo>
                <a:lnTo>
                  <a:pt x="901" y="63"/>
                </a:lnTo>
                <a:lnTo>
                  <a:pt x="901" y="60"/>
                </a:lnTo>
                <a:lnTo>
                  <a:pt x="901" y="57"/>
                </a:lnTo>
                <a:lnTo>
                  <a:pt x="900" y="54"/>
                </a:lnTo>
                <a:lnTo>
                  <a:pt x="899" y="51"/>
                </a:lnTo>
                <a:lnTo>
                  <a:pt x="897" y="49"/>
                </a:lnTo>
                <a:lnTo>
                  <a:pt x="895" y="47"/>
                </a:lnTo>
                <a:lnTo>
                  <a:pt x="891" y="46"/>
                </a:lnTo>
                <a:lnTo>
                  <a:pt x="889" y="45"/>
                </a:lnTo>
                <a:lnTo>
                  <a:pt x="886" y="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8" name="Group 287"/>
          <p:cNvGrpSpPr/>
          <p:nvPr/>
        </p:nvGrpSpPr>
        <p:grpSpPr>
          <a:xfrm>
            <a:off x="11274888" y="2629022"/>
            <a:ext cx="287338" cy="277813"/>
            <a:chOff x="4892675" y="2501900"/>
            <a:chExt cx="287338" cy="277813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89" name="Freeform 300"/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301"/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1" name="Freeform 3073"/>
          <p:cNvSpPr>
            <a:spLocks noEditPoints="1"/>
          </p:cNvSpPr>
          <p:nvPr/>
        </p:nvSpPr>
        <p:spPr bwMode="auto">
          <a:xfrm>
            <a:off x="5853873" y="2509956"/>
            <a:ext cx="484254" cy="484254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AAAAAA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239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BUTTERFLY EFFECT DIAGRAM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5" name="Oval 94"/>
          <p:cNvSpPr>
            <a:spLocks noChangeArrowheads="1"/>
          </p:cNvSpPr>
          <p:nvPr/>
        </p:nvSpPr>
        <p:spPr bwMode="auto">
          <a:xfrm>
            <a:off x="4481275" y="2236873"/>
            <a:ext cx="3321358" cy="3321358"/>
          </a:xfrm>
          <a:prstGeom prst="ellipse">
            <a:avLst/>
          </a:prstGeom>
          <a:noFill/>
          <a:ln w="6350" cap="flat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6" name="Oval 95"/>
          <p:cNvSpPr>
            <a:spLocks noChangeArrowheads="1"/>
          </p:cNvSpPr>
          <p:nvPr/>
        </p:nvSpPr>
        <p:spPr bwMode="auto">
          <a:xfrm>
            <a:off x="4769493" y="2525091"/>
            <a:ext cx="2744924" cy="2744925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7" name="Freeform 96"/>
          <p:cNvSpPr>
            <a:spLocks/>
          </p:cNvSpPr>
          <p:nvPr/>
        </p:nvSpPr>
        <p:spPr bwMode="auto">
          <a:xfrm>
            <a:off x="3169633" y="1598629"/>
            <a:ext cx="869158" cy="394538"/>
          </a:xfrm>
          <a:custGeom>
            <a:avLst/>
            <a:gdLst>
              <a:gd name="T0" fmla="*/ 0 w 188"/>
              <a:gd name="T1" fmla="*/ 85 h 85"/>
              <a:gd name="T2" fmla="*/ 188 w 188"/>
              <a:gd name="T3" fmla="*/ 85 h 85"/>
              <a:gd name="T4" fmla="*/ 184 w 188"/>
              <a:gd name="T5" fmla="*/ 31 h 85"/>
              <a:gd name="T6" fmla="*/ 138 w 188"/>
              <a:gd name="T7" fmla="*/ 6 h 85"/>
              <a:gd name="T8" fmla="*/ 75 w 188"/>
              <a:gd name="T9" fmla="*/ 0 h 85"/>
              <a:gd name="T10" fmla="*/ 46 w 188"/>
              <a:gd name="T11" fmla="*/ 14 h 85"/>
              <a:gd name="T12" fmla="*/ 0 w 188"/>
              <a:gd name="T13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0" y="85"/>
                </a:moveTo>
                <a:cubicBezTo>
                  <a:pt x="188" y="85"/>
                  <a:pt x="188" y="85"/>
                  <a:pt x="188" y="85"/>
                </a:cubicBezTo>
                <a:cubicBezTo>
                  <a:pt x="184" y="31"/>
                  <a:pt x="184" y="31"/>
                  <a:pt x="184" y="31"/>
                </a:cubicBezTo>
                <a:cubicBezTo>
                  <a:pt x="138" y="6"/>
                  <a:pt x="138" y="6"/>
                  <a:pt x="138" y="6"/>
                </a:cubicBezTo>
                <a:cubicBezTo>
                  <a:pt x="75" y="0"/>
                  <a:pt x="75" y="0"/>
                  <a:pt x="75" y="0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10" y="54"/>
                  <a:pt x="0" y="85"/>
                </a:cubicBezTo>
                <a:close/>
              </a:path>
            </a:pathLst>
          </a:custGeom>
          <a:solidFill>
            <a:srgbClr val="015685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8" name="Freeform 97"/>
          <p:cNvSpPr>
            <a:spLocks/>
          </p:cNvSpPr>
          <p:nvPr/>
        </p:nvSpPr>
        <p:spPr bwMode="auto">
          <a:xfrm>
            <a:off x="8308402" y="1598629"/>
            <a:ext cx="869158" cy="394538"/>
          </a:xfrm>
          <a:custGeom>
            <a:avLst/>
            <a:gdLst>
              <a:gd name="T0" fmla="*/ 188 w 188"/>
              <a:gd name="T1" fmla="*/ 85 h 85"/>
              <a:gd name="T2" fmla="*/ 0 w 188"/>
              <a:gd name="T3" fmla="*/ 85 h 85"/>
              <a:gd name="T4" fmla="*/ 4 w 188"/>
              <a:gd name="T5" fmla="*/ 31 h 85"/>
              <a:gd name="T6" fmla="*/ 50 w 188"/>
              <a:gd name="T7" fmla="*/ 6 h 85"/>
              <a:gd name="T8" fmla="*/ 112 w 188"/>
              <a:gd name="T9" fmla="*/ 0 h 85"/>
              <a:gd name="T10" fmla="*/ 141 w 188"/>
              <a:gd name="T11" fmla="*/ 14 h 85"/>
              <a:gd name="T12" fmla="*/ 188 w 188"/>
              <a:gd name="T13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188" y="85"/>
                </a:moveTo>
                <a:cubicBezTo>
                  <a:pt x="0" y="85"/>
                  <a:pt x="0" y="85"/>
                  <a:pt x="0" y="85"/>
                </a:cubicBezTo>
                <a:cubicBezTo>
                  <a:pt x="4" y="31"/>
                  <a:pt x="4" y="31"/>
                  <a:pt x="4" y="31"/>
                </a:cubicBezTo>
                <a:cubicBezTo>
                  <a:pt x="50" y="6"/>
                  <a:pt x="50" y="6"/>
                  <a:pt x="50" y="6"/>
                </a:cubicBezTo>
                <a:cubicBezTo>
                  <a:pt x="112" y="0"/>
                  <a:pt x="112" y="0"/>
                  <a:pt x="112" y="0"/>
                </a:cubicBezTo>
                <a:cubicBezTo>
                  <a:pt x="141" y="14"/>
                  <a:pt x="141" y="14"/>
                  <a:pt x="141" y="14"/>
                </a:cubicBezTo>
                <a:cubicBezTo>
                  <a:pt x="141" y="14"/>
                  <a:pt x="178" y="54"/>
                  <a:pt x="188" y="85"/>
                </a:cubicBezTo>
                <a:close/>
              </a:path>
            </a:pathLst>
          </a:custGeom>
          <a:solidFill>
            <a:srgbClr val="38906C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9" name="Freeform 98"/>
          <p:cNvSpPr>
            <a:spLocks/>
          </p:cNvSpPr>
          <p:nvPr/>
        </p:nvSpPr>
        <p:spPr bwMode="auto">
          <a:xfrm>
            <a:off x="3169633" y="5772535"/>
            <a:ext cx="869158" cy="394538"/>
          </a:xfrm>
          <a:custGeom>
            <a:avLst/>
            <a:gdLst>
              <a:gd name="T0" fmla="*/ 0 w 188"/>
              <a:gd name="T1" fmla="*/ 0 h 85"/>
              <a:gd name="T2" fmla="*/ 188 w 188"/>
              <a:gd name="T3" fmla="*/ 0 h 85"/>
              <a:gd name="T4" fmla="*/ 184 w 188"/>
              <a:gd name="T5" fmla="*/ 54 h 85"/>
              <a:gd name="T6" fmla="*/ 138 w 188"/>
              <a:gd name="T7" fmla="*/ 79 h 85"/>
              <a:gd name="T8" fmla="*/ 75 w 188"/>
              <a:gd name="T9" fmla="*/ 85 h 85"/>
              <a:gd name="T10" fmla="*/ 46 w 188"/>
              <a:gd name="T11" fmla="*/ 71 h 85"/>
              <a:gd name="T12" fmla="*/ 0 w 188"/>
              <a:gd name="T13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0" y="0"/>
                </a:moveTo>
                <a:cubicBezTo>
                  <a:pt x="188" y="0"/>
                  <a:pt x="188" y="0"/>
                  <a:pt x="188" y="0"/>
                </a:cubicBezTo>
                <a:cubicBezTo>
                  <a:pt x="184" y="54"/>
                  <a:pt x="184" y="54"/>
                  <a:pt x="184" y="54"/>
                </a:cubicBezTo>
                <a:cubicBezTo>
                  <a:pt x="138" y="79"/>
                  <a:pt x="138" y="79"/>
                  <a:pt x="138" y="79"/>
                </a:cubicBezTo>
                <a:cubicBezTo>
                  <a:pt x="75" y="85"/>
                  <a:pt x="75" y="85"/>
                  <a:pt x="75" y="85"/>
                </a:cubicBezTo>
                <a:cubicBezTo>
                  <a:pt x="46" y="71"/>
                  <a:pt x="46" y="71"/>
                  <a:pt x="46" y="71"/>
                </a:cubicBezTo>
                <a:cubicBezTo>
                  <a:pt x="46" y="71"/>
                  <a:pt x="10" y="31"/>
                  <a:pt x="0" y="0"/>
                </a:cubicBezTo>
                <a:close/>
              </a:path>
            </a:pathLst>
          </a:custGeom>
          <a:solidFill>
            <a:srgbClr val="FE8D26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0" name="Freeform 99"/>
          <p:cNvSpPr>
            <a:spLocks/>
          </p:cNvSpPr>
          <p:nvPr/>
        </p:nvSpPr>
        <p:spPr bwMode="auto">
          <a:xfrm>
            <a:off x="8308402" y="5772535"/>
            <a:ext cx="869158" cy="394538"/>
          </a:xfrm>
          <a:custGeom>
            <a:avLst/>
            <a:gdLst>
              <a:gd name="T0" fmla="*/ 188 w 188"/>
              <a:gd name="T1" fmla="*/ 0 h 85"/>
              <a:gd name="T2" fmla="*/ 0 w 188"/>
              <a:gd name="T3" fmla="*/ 0 h 85"/>
              <a:gd name="T4" fmla="*/ 4 w 188"/>
              <a:gd name="T5" fmla="*/ 54 h 85"/>
              <a:gd name="T6" fmla="*/ 50 w 188"/>
              <a:gd name="T7" fmla="*/ 79 h 85"/>
              <a:gd name="T8" fmla="*/ 112 w 188"/>
              <a:gd name="T9" fmla="*/ 85 h 85"/>
              <a:gd name="T10" fmla="*/ 141 w 188"/>
              <a:gd name="T11" fmla="*/ 71 h 85"/>
              <a:gd name="T12" fmla="*/ 188 w 188"/>
              <a:gd name="T13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188" y="0"/>
                </a:moveTo>
                <a:cubicBezTo>
                  <a:pt x="0" y="0"/>
                  <a:pt x="0" y="0"/>
                  <a:pt x="0" y="0"/>
                </a:cubicBezTo>
                <a:cubicBezTo>
                  <a:pt x="4" y="54"/>
                  <a:pt x="4" y="54"/>
                  <a:pt x="4" y="54"/>
                </a:cubicBezTo>
                <a:cubicBezTo>
                  <a:pt x="50" y="79"/>
                  <a:pt x="50" y="79"/>
                  <a:pt x="50" y="79"/>
                </a:cubicBezTo>
                <a:cubicBezTo>
                  <a:pt x="112" y="85"/>
                  <a:pt x="112" y="85"/>
                  <a:pt x="112" y="85"/>
                </a:cubicBezTo>
                <a:cubicBezTo>
                  <a:pt x="141" y="71"/>
                  <a:pt x="141" y="71"/>
                  <a:pt x="141" y="71"/>
                </a:cubicBezTo>
                <a:cubicBezTo>
                  <a:pt x="141" y="71"/>
                  <a:pt x="178" y="31"/>
                  <a:pt x="188" y="0"/>
                </a:cubicBezTo>
                <a:close/>
              </a:path>
            </a:pathLst>
          </a:custGeom>
          <a:solidFill>
            <a:srgbClr val="7C7C7C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1" name="TextBox 116"/>
          <p:cNvSpPr txBox="1"/>
          <p:nvPr/>
        </p:nvSpPr>
        <p:spPr>
          <a:xfrm>
            <a:off x="5390315" y="3584262"/>
            <a:ext cx="1566560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/>
              <a:t>LOREM IPSUM</a:t>
            </a:r>
          </a:p>
        </p:txBody>
      </p:sp>
      <p:sp>
        <p:nvSpPr>
          <p:cNvPr id="186" name="TextBox 110"/>
          <p:cNvSpPr txBox="1"/>
          <p:nvPr/>
        </p:nvSpPr>
        <p:spPr>
          <a:xfrm>
            <a:off x="4964169" y="3790266"/>
            <a:ext cx="2418851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.</a:t>
            </a:r>
          </a:p>
        </p:txBody>
      </p:sp>
      <p:sp>
        <p:nvSpPr>
          <p:cNvPr id="102" name="Freeform 101"/>
          <p:cNvSpPr>
            <a:spLocks/>
          </p:cNvSpPr>
          <p:nvPr/>
        </p:nvSpPr>
        <p:spPr bwMode="auto">
          <a:xfrm>
            <a:off x="3382527" y="1547847"/>
            <a:ext cx="2746146" cy="1712924"/>
          </a:xfrm>
          <a:custGeom>
            <a:avLst/>
            <a:gdLst>
              <a:gd name="T0" fmla="*/ 569 w 594"/>
              <a:gd name="T1" fmla="*/ 114 h 370"/>
              <a:gd name="T2" fmla="*/ 540 w 594"/>
              <a:gd name="T3" fmla="*/ 141 h 370"/>
              <a:gd name="T4" fmla="*/ 428 w 594"/>
              <a:gd name="T5" fmla="*/ 29 h 370"/>
              <a:gd name="T6" fmla="*/ 378 w 594"/>
              <a:gd name="T7" fmla="*/ 5 h 370"/>
              <a:gd name="T8" fmla="*/ 42 w 594"/>
              <a:gd name="T9" fmla="*/ 5 h 370"/>
              <a:gd name="T10" fmla="*/ 0 w 594"/>
              <a:gd name="T11" fmla="*/ 25 h 370"/>
              <a:gd name="T12" fmla="*/ 83 w 594"/>
              <a:gd name="T13" fmla="*/ 37 h 370"/>
              <a:gd name="T14" fmla="*/ 360 w 594"/>
              <a:gd name="T15" fmla="*/ 308 h 370"/>
              <a:gd name="T16" fmla="*/ 317 w 594"/>
              <a:gd name="T17" fmla="*/ 347 h 370"/>
              <a:gd name="T18" fmla="*/ 326 w 594"/>
              <a:gd name="T19" fmla="*/ 370 h 370"/>
              <a:gd name="T20" fmla="*/ 560 w 594"/>
              <a:gd name="T21" fmla="*/ 370 h 370"/>
              <a:gd name="T22" fmla="*/ 594 w 594"/>
              <a:gd name="T23" fmla="*/ 336 h 370"/>
              <a:gd name="T24" fmla="*/ 594 w 594"/>
              <a:gd name="T25" fmla="*/ 125 h 370"/>
              <a:gd name="T26" fmla="*/ 569 w 594"/>
              <a:gd name="T27" fmla="*/ 11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4" h="370">
                <a:moveTo>
                  <a:pt x="569" y="114"/>
                </a:moveTo>
                <a:cubicBezTo>
                  <a:pt x="540" y="141"/>
                  <a:pt x="540" y="141"/>
                  <a:pt x="540" y="141"/>
                </a:cubicBezTo>
                <a:cubicBezTo>
                  <a:pt x="428" y="29"/>
                  <a:pt x="428" y="29"/>
                  <a:pt x="428" y="29"/>
                </a:cubicBezTo>
                <a:cubicBezTo>
                  <a:pt x="428" y="29"/>
                  <a:pt x="408" y="4"/>
                  <a:pt x="378" y="5"/>
                </a:cubicBezTo>
                <a:cubicBezTo>
                  <a:pt x="348" y="6"/>
                  <a:pt x="42" y="5"/>
                  <a:pt x="42" y="5"/>
                </a:cubicBezTo>
                <a:cubicBezTo>
                  <a:pt x="42" y="5"/>
                  <a:pt x="14" y="4"/>
                  <a:pt x="0" y="25"/>
                </a:cubicBezTo>
                <a:cubicBezTo>
                  <a:pt x="0" y="25"/>
                  <a:pt x="43" y="0"/>
                  <a:pt x="83" y="37"/>
                </a:cubicBezTo>
                <a:cubicBezTo>
                  <a:pt x="122" y="73"/>
                  <a:pt x="360" y="308"/>
                  <a:pt x="360" y="308"/>
                </a:cubicBezTo>
                <a:cubicBezTo>
                  <a:pt x="317" y="347"/>
                  <a:pt x="317" y="347"/>
                  <a:pt x="317" y="347"/>
                </a:cubicBezTo>
                <a:cubicBezTo>
                  <a:pt x="304" y="359"/>
                  <a:pt x="308" y="370"/>
                  <a:pt x="326" y="370"/>
                </a:cubicBezTo>
                <a:cubicBezTo>
                  <a:pt x="560" y="370"/>
                  <a:pt x="560" y="370"/>
                  <a:pt x="560" y="370"/>
                </a:cubicBezTo>
                <a:cubicBezTo>
                  <a:pt x="579" y="370"/>
                  <a:pt x="594" y="354"/>
                  <a:pt x="594" y="336"/>
                </a:cubicBezTo>
                <a:cubicBezTo>
                  <a:pt x="594" y="125"/>
                  <a:pt x="594" y="125"/>
                  <a:pt x="594" y="125"/>
                </a:cubicBezTo>
                <a:cubicBezTo>
                  <a:pt x="594" y="106"/>
                  <a:pt x="583" y="101"/>
                  <a:pt x="569" y="114"/>
                </a:cubicBezTo>
                <a:close/>
              </a:path>
            </a:pathLst>
          </a:custGeom>
          <a:solidFill>
            <a:srgbClr val="016AA3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3" name="Freeform 102"/>
          <p:cNvSpPr>
            <a:spLocks/>
          </p:cNvSpPr>
          <p:nvPr/>
        </p:nvSpPr>
        <p:spPr bwMode="auto">
          <a:xfrm>
            <a:off x="6212659" y="1547847"/>
            <a:ext cx="2752006" cy="1712924"/>
          </a:xfrm>
          <a:custGeom>
            <a:avLst/>
            <a:gdLst>
              <a:gd name="T0" fmla="*/ 25 w 595"/>
              <a:gd name="T1" fmla="*/ 114 h 370"/>
              <a:gd name="T2" fmla="*/ 54 w 595"/>
              <a:gd name="T3" fmla="*/ 141 h 370"/>
              <a:gd name="T4" fmla="*/ 166 w 595"/>
              <a:gd name="T5" fmla="*/ 29 h 370"/>
              <a:gd name="T6" fmla="*/ 216 w 595"/>
              <a:gd name="T7" fmla="*/ 5 h 370"/>
              <a:gd name="T8" fmla="*/ 553 w 595"/>
              <a:gd name="T9" fmla="*/ 5 h 370"/>
              <a:gd name="T10" fmla="*/ 595 w 595"/>
              <a:gd name="T11" fmla="*/ 25 h 370"/>
              <a:gd name="T12" fmla="*/ 512 w 595"/>
              <a:gd name="T13" fmla="*/ 37 h 370"/>
              <a:gd name="T14" fmla="*/ 235 w 595"/>
              <a:gd name="T15" fmla="*/ 308 h 370"/>
              <a:gd name="T16" fmla="*/ 277 w 595"/>
              <a:gd name="T17" fmla="*/ 347 h 370"/>
              <a:gd name="T18" fmla="*/ 268 w 595"/>
              <a:gd name="T19" fmla="*/ 370 h 370"/>
              <a:gd name="T20" fmla="*/ 34 w 595"/>
              <a:gd name="T21" fmla="*/ 370 h 370"/>
              <a:gd name="T22" fmla="*/ 0 w 595"/>
              <a:gd name="T23" fmla="*/ 336 h 370"/>
              <a:gd name="T24" fmla="*/ 0 w 595"/>
              <a:gd name="T25" fmla="*/ 125 h 370"/>
              <a:gd name="T26" fmla="*/ 25 w 595"/>
              <a:gd name="T27" fmla="*/ 11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5" h="370">
                <a:moveTo>
                  <a:pt x="25" y="114"/>
                </a:moveTo>
                <a:cubicBezTo>
                  <a:pt x="54" y="141"/>
                  <a:pt x="54" y="141"/>
                  <a:pt x="54" y="141"/>
                </a:cubicBezTo>
                <a:cubicBezTo>
                  <a:pt x="166" y="29"/>
                  <a:pt x="166" y="29"/>
                  <a:pt x="166" y="29"/>
                </a:cubicBezTo>
                <a:cubicBezTo>
                  <a:pt x="166" y="29"/>
                  <a:pt x="187" y="4"/>
                  <a:pt x="216" y="5"/>
                </a:cubicBezTo>
                <a:cubicBezTo>
                  <a:pt x="246" y="6"/>
                  <a:pt x="553" y="5"/>
                  <a:pt x="553" y="5"/>
                </a:cubicBezTo>
                <a:cubicBezTo>
                  <a:pt x="553" y="5"/>
                  <a:pt x="580" y="4"/>
                  <a:pt x="595" y="25"/>
                </a:cubicBezTo>
                <a:cubicBezTo>
                  <a:pt x="595" y="25"/>
                  <a:pt x="552" y="0"/>
                  <a:pt x="512" y="37"/>
                </a:cubicBezTo>
                <a:cubicBezTo>
                  <a:pt x="472" y="73"/>
                  <a:pt x="235" y="308"/>
                  <a:pt x="235" y="308"/>
                </a:cubicBezTo>
                <a:cubicBezTo>
                  <a:pt x="277" y="347"/>
                  <a:pt x="277" y="347"/>
                  <a:pt x="277" y="347"/>
                </a:cubicBezTo>
                <a:cubicBezTo>
                  <a:pt x="291" y="359"/>
                  <a:pt x="287" y="370"/>
                  <a:pt x="268" y="370"/>
                </a:cubicBezTo>
                <a:cubicBezTo>
                  <a:pt x="34" y="370"/>
                  <a:pt x="34" y="370"/>
                  <a:pt x="34" y="370"/>
                </a:cubicBezTo>
                <a:cubicBezTo>
                  <a:pt x="15" y="370"/>
                  <a:pt x="0" y="354"/>
                  <a:pt x="0" y="336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06"/>
                  <a:pt x="11" y="101"/>
                  <a:pt x="25" y="114"/>
                </a:cubicBezTo>
                <a:close/>
              </a:path>
            </a:pathLst>
          </a:custGeom>
          <a:solidFill>
            <a:srgbClr val="46B688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4" name="Freeform 103"/>
          <p:cNvSpPr>
            <a:spLocks/>
          </p:cNvSpPr>
          <p:nvPr/>
        </p:nvSpPr>
        <p:spPr bwMode="auto">
          <a:xfrm>
            <a:off x="3382527" y="4504933"/>
            <a:ext cx="2746146" cy="1712924"/>
          </a:xfrm>
          <a:custGeom>
            <a:avLst/>
            <a:gdLst>
              <a:gd name="T0" fmla="*/ 569 w 594"/>
              <a:gd name="T1" fmla="*/ 256 h 370"/>
              <a:gd name="T2" fmla="*/ 540 w 594"/>
              <a:gd name="T3" fmla="*/ 229 h 370"/>
              <a:gd name="T4" fmla="*/ 428 w 594"/>
              <a:gd name="T5" fmla="*/ 341 h 370"/>
              <a:gd name="T6" fmla="*/ 378 w 594"/>
              <a:gd name="T7" fmla="*/ 364 h 370"/>
              <a:gd name="T8" fmla="*/ 42 w 594"/>
              <a:gd name="T9" fmla="*/ 364 h 370"/>
              <a:gd name="T10" fmla="*/ 0 w 594"/>
              <a:gd name="T11" fmla="*/ 345 h 370"/>
              <a:gd name="T12" fmla="*/ 83 w 594"/>
              <a:gd name="T13" fmla="*/ 333 h 370"/>
              <a:gd name="T14" fmla="*/ 360 w 594"/>
              <a:gd name="T15" fmla="*/ 62 h 370"/>
              <a:gd name="T16" fmla="*/ 317 w 594"/>
              <a:gd name="T17" fmla="*/ 23 h 370"/>
              <a:gd name="T18" fmla="*/ 326 w 594"/>
              <a:gd name="T19" fmla="*/ 0 h 370"/>
              <a:gd name="T20" fmla="*/ 560 w 594"/>
              <a:gd name="T21" fmla="*/ 0 h 370"/>
              <a:gd name="T22" fmla="*/ 594 w 594"/>
              <a:gd name="T23" fmla="*/ 34 h 370"/>
              <a:gd name="T24" fmla="*/ 594 w 594"/>
              <a:gd name="T25" fmla="*/ 245 h 370"/>
              <a:gd name="T26" fmla="*/ 569 w 594"/>
              <a:gd name="T27" fmla="*/ 256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4" h="370">
                <a:moveTo>
                  <a:pt x="569" y="256"/>
                </a:moveTo>
                <a:cubicBezTo>
                  <a:pt x="540" y="229"/>
                  <a:pt x="540" y="229"/>
                  <a:pt x="540" y="229"/>
                </a:cubicBezTo>
                <a:cubicBezTo>
                  <a:pt x="428" y="341"/>
                  <a:pt x="428" y="341"/>
                  <a:pt x="428" y="341"/>
                </a:cubicBezTo>
                <a:cubicBezTo>
                  <a:pt x="428" y="341"/>
                  <a:pt x="408" y="365"/>
                  <a:pt x="378" y="364"/>
                </a:cubicBezTo>
                <a:cubicBezTo>
                  <a:pt x="348" y="363"/>
                  <a:pt x="42" y="364"/>
                  <a:pt x="42" y="364"/>
                </a:cubicBezTo>
                <a:cubicBezTo>
                  <a:pt x="42" y="364"/>
                  <a:pt x="14" y="365"/>
                  <a:pt x="0" y="345"/>
                </a:cubicBezTo>
                <a:cubicBezTo>
                  <a:pt x="0" y="345"/>
                  <a:pt x="43" y="370"/>
                  <a:pt x="83" y="333"/>
                </a:cubicBezTo>
                <a:cubicBezTo>
                  <a:pt x="122" y="296"/>
                  <a:pt x="360" y="62"/>
                  <a:pt x="360" y="62"/>
                </a:cubicBezTo>
                <a:cubicBezTo>
                  <a:pt x="317" y="23"/>
                  <a:pt x="317" y="23"/>
                  <a:pt x="317" y="23"/>
                </a:cubicBezTo>
                <a:cubicBezTo>
                  <a:pt x="304" y="10"/>
                  <a:pt x="308" y="0"/>
                  <a:pt x="326" y="0"/>
                </a:cubicBezTo>
                <a:cubicBezTo>
                  <a:pt x="560" y="0"/>
                  <a:pt x="560" y="0"/>
                  <a:pt x="560" y="0"/>
                </a:cubicBezTo>
                <a:cubicBezTo>
                  <a:pt x="579" y="0"/>
                  <a:pt x="594" y="15"/>
                  <a:pt x="594" y="34"/>
                </a:cubicBezTo>
                <a:cubicBezTo>
                  <a:pt x="594" y="245"/>
                  <a:pt x="594" y="245"/>
                  <a:pt x="594" y="245"/>
                </a:cubicBezTo>
                <a:cubicBezTo>
                  <a:pt x="594" y="263"/>
                  <a:pt x="583" y="268"/>
                  <a:pt x="569" y="256"/>
                </a:cubicBezTo>
                <a:close/>
              </a:path>
            </a:pathLst>
          </a:custGeom>
          <a:solidFill>
            <a:srgbClr val="FEA34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5" name="Freeform 104"/>
          <p:cNvSpPr>
            <a:spLocks/>
          </p:cNvSpPr>
          <p:nvPr/>
        </p:nvSpPr>
        <p:spPr bwMode="auto">
          <a:xfrm>
            <a:off x="6212659" y="4504933"/>
            <a:ext cx="2752006" cy="1712924"/>
          </a:xfrm>
          <a:custGeom>
            <a:avLst/>
            <a:gdLst>
              <a:gd name="T0" fmla="*/ 25 w 595"/>
              <a:gd name="T1" fmla="*/ 256 h 370"/>
              <a:gd name="T2" fmla="*/ 54 w 595"/>
              <a:gd name="T3" fmla="*/ 229 h 370"/>
              <a:gd name="T4" fmla="*/ 166 w 595"/>
              <a:gd name="T5" fmla="*/ 341 h 370"/>
              <a:gd name="T6" fmla="*/ 216 w 595"/>
              <a:gd name="T7" fmla="*/ 364 h 370"/>
              <a:gd name="T8" fmla="*/ 553 w 595"/>
              <a:gd name="T9" fmla="*/ 364 h 370"/>
              <a:gd name="T10" fmla="*/ 595 w 595"/>
              <a:gd name="T11" fmla="*/ 345 h 370"/>
              <a:gd name="T12" fmla="*/ 512 w 595"/>
              <a:gd name="T13" fmla="*/ 333 h 370"/>
              <a:gd name="T14" fmla="*/ 235 w 595"/>
              <a:gd name="T15" fmla="*/ 62 h 370"/>
              <a:gd name="T16" fmla="*/ 277 w 595"/>
              <a:gd name="T17" fmla="*/ 23 h 370"/>
              <a:gd name="T18" fmla="*/ 268 w 595"/>
              <a:gd name="T19" fmla="*/ 0 h 370"/>
              <a:gd name="T20" fmla="*/ 34 w 595"/>
              <a:gd name="T21" fmla="*/ 0 h 370"/>
              <a:gd name="T22" fmla="*/ 0 w 595"/>
              <a:gd name="T23" fmla="*/ 34 h 370"/>
              <a:gd name="T24" fmla="*/ 0 w 595"/>
              <a:gd name="T25" fmla="*/ 245 h 370"/>
              <a:gd name="T26" fmla="*/ 25 w 595"/>
              <a:gd name="T27" fmla="*/ 256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5" h="370">
                <a:moveTo>
                  <a:pt x="25" y="256"/>
                </a:moveTo>
                <a:cubicBezTo>
                  <a:pt x="54" y="229"/>
                  <a:pt x="54" y="229"/>
                  <a:pt x="54" y="229"/>
                </a:cubicBezTo>
                <a:cubicBezTo>
                  <a:pt x="166" y="341"/>
                  <a:pt x="166" y="341"/>
                  <a:pt x="166" y="341"/>
                </a:cubicBezTo>
                <a:cubicBezTo>
                  <a:pt x="166" y="341"/>
                  <a:pt x="187" y="365"/>
                  <a:pt x="216" y="364"/>
                </a:cubicBezTo>
                <a:cubicBezTo>
                  <a:pt x="246" y="363"/>
                  <a:pt x="553" y="364"/>
                  <a:pt x="553" y="364"/>
                </a:cubicBezTo>
                <a:cubicBezTo>
                  <a:pt x="553" y="364"/>
                  <a:pt x="580" y="365"/>
                  <a:pt x="595" y="345"/>
                </a:cubicBezTo>
                <a:cubicBezTo>
                  <a:pt x="595" y="345"/>
                  <a:pt x="552" y="370"/>
                  <a:pt x="512" y="333"/>
                </a:cubicBezTo>
                <a:cubicBezTo>
                  <a:pt x="472" y="296"/>
                  <a:pt x="235" y="62"/>
                  <a:pt x="235" y="62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91" y="10"/>
                  <a:pt x="287" y="0"/>
                  <a:pt x="268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63"/>
                  <a:pt x="11" y="268"/>
                  <a:pt x="25" y="256"/>
                </a:cubicBezTo>
                <a:close/>
              </a:path>
            </a:pathLst>
          </a:custGeom>
          <a:solidFill>
            <a:srgbClr val="AAAAAA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07" name="Group 106"/>
          <p:cNvGrpSpPr/>
          <p:nvPr/>
        </p:nvGrpSpPr>
        <p:grpSpPr>
          <a:xfrm>
            <a:off x="642282" y="4389598"/>
            <a:ext cx="3435337" cy="1292164"/>
            <a:chOff x="111278" y="4313156"/>
            <a:chExt cx="2792190" cy="1050250"/>
          </a:xfrm>
        </p:grpSpPr>
        <p:sp>
          <p:nvSpPr>
            <p:cNvPr id="134" name="TextBox 258"/>
            <p:cNvSpPr txBox="1"/>
            <p:nvPr/>
          </p:nvSpPr>
          <p:spPr>
            <a:xfrm>
              <a:off x="2545888" y="4913125"/>
              <a:ext cx="357580" cy="45028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360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2</a:t>
              </a:r>
            </a:p>
          </p:txBody>
        </p:sp>
        <p:grpSp>
          <p:nvGrpSpPr>
            <p:cNvPr id="135" name="Group 134"/>
            <p:cNvGrpSpPr/>
            <p:nvPr/>
          </p:nvGrpSpPr>
          <p:grpSpPr>
            <a:xfrm>
              <a:off x="111278" y="4313156"/>
              <a:ext cx="2792190" cy="604969"/>
              <a:chOff x="111278" y="4322682"/>
              <a:chExt cx="2792190" cy="604969"/>
            </a:xfrm>
          </p:grpSpPr>
          <p:sp>
            <p:nvSpPr>
              <p:cNvPr id="136" name="TextBox 268"/>
              <p:cNvSpPr txBox="1"/>
              <p:nvPr/>
            </p:nvSpPr>
            <p:spPr>
              <a:xfrm>
                <a:off x="111278" y="4477370"/>
                <a:ext cx="2792190" cy="45028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37" name="TextBox 259"/>
              <p:cNvSpPr txBox="1"/>
              <p:nvPr/>
            </p:nvSpPr>
            <p:spPr>
              <a:xfrm>
                <a:off x="1898098" y="4322682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1200" b="1" dirty="0"/>
                  <a:t>LOREM IPSUM </a:t>
                </a: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642282" y="1936266"/>
            <a:ext cx="3435337" cy="1311723"/>
            <a:chOff x="524541" y="2319128"/>
            <a:chExt cx="2792190" cy="1066149"/>
          </a:xfrm>
        </p:grpSpPr>
        <p:sp>
          <p:nvSpPr>
            <p:cNvPr id="130" name="TextBox 246"/>
            <p:cNvSpPr txBox="1"/>
            <p:nvPr/>
          </p:nvSpPr>
          <p:spPr>
            <a:xfrm>
              <a:off x="2959151" y="2319128"/>
              <a:ext cx="357580" cy="45028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360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1</a:t>
              </a: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524541" y="2773061"/>
              <a:ext cx="2792190" cy="612216"/>
              <a:chOff x="524541" y="2773061"/>
              <a:chExt cx="2792190" cy="612216"/>
            </a:xfrm>
          </p:grpSpPr>
          <p:sp>
            <p:nvSpPr>
              <p:cNvPr id="132" name="TextBox 247"/>
              <p:cNvSpPr txBox="1"/>
              <p:nvPr/>
            </p:nvSpPr>
            <p:spPr>
              <a:xfrm>
                <a:off x="2311361" y="2773061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1200" b="1" dirty="0"/>
                  <a:t>LOREM IPSUM </a:t>
                </a:r>
              </a:p>
            </p:txBody>
          </p:sp>
          <p:sp>
            <p:nvSpPr>
              <p:cNvPr id="133" name="TextBox 267"/>
              <p:cNvSpPr txBox="1"/>
              <p:nvPr/>
            </p:nvSpPr>
            <p:spPr>
              <a:xfrm>
                <a:off x="524541" y="2934996"/>
                <a:ext cx="2792190" cy="45028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</p:grpSp>
      </p:grpSp>
      <p:grpSp>
        <p:nvGrpSpPr>
          <p:cNvPr id="109" name="Group 108"/>
          <p:cNvGrpSpPr/>
          <p:nvPr/>
        </p:nvGrpSpPr>
        <p:grpSpPr>
          <a:xfrm>
            <a:off x="8269572" y="4406916"/>
            <a:ext cx="3280146" cy="1402451"/>
            <a:chOff x="6204132" y="4327233"/>
            <a:chExt cx="2666053" cy="1139890"/>
          </a:xfrm>
        </p:grpSpPr>
        <p:sp>
          <p:nvSpPr>
            <p:cNvPr id="126" name="TextBox 265"/>
            <p:cNvSpPr txBox="1"/>
            <p:nvPr/>
          </p:nvSpPr>
          <p:spPr>
            <a:xfrm>
              <a:off x="6204132" y="4913125"/>
              <a:ext cx="357580" cy="55399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4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6204132" y="4327233"/>
              <a:ext cx="2666053" cy="604969"/>
              <a:chOff x="2109216" y="4336759"/>
              <a:chExt cx="2666053" cy="604969"/>
            </a:xfrm>
          </p:grpSpPr>
          <p:sp>
            <p:nvSpPr>
              <p:cNvPr id="128" name="TextBox 276"/>
              <p:cNvSpPr txBox="1"/>
              <p:nvPr/>
            </p:nvSpPr>
            <p:spPr>
              <a:xfrm>
                <a:off x="2109216" y="4491447"/>
                <a:ext cx="2666053" cy="45028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29" name="TextBox 277"/>
              <p:cNvSpPr txBox="1"/>
              <p:nvPr/>
            </p:nvSpPr>
            <p:spPr>
              <a:xfrm>
                <a:off x="2109216" y="4336759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/>
                  <a:t>LOREM IPSUM </a:t>
                </a:r>
              </a:p>
            </p:txBody>
          </p:sp>
        </p:grpSp>
      </p:grpSp>
      <p:grpSp>
        <p:nvGrpSpPr>
          <p:cNvPr id="110" name="Group 109"/>
          <p:cNvGrpSpPr/>
          <p:nvPr/>
        </p:nvGrpSpPr>
        <p:grpSpPr>
          <a:xfrm>
            <a:off x="8269568" y="1936266"/>
            <a:ext cx="3280149" cy="1311723"/>
            <a:chOff x="6204131" y="2319128"/>
            <a:chExt cx="2666056" cy="1066149"/>
          </a:xfrm>
        </p:grpSpPr>
        <p:sp>
          <p:nvSpPr>
            <p:cNvPr id="122" name="TextBox 262"/>
            <p:cNvSpPr txBox="1"/>
            <p:nvPr/>
          </p:nvSpPr>
          <p:spPr>
            <a:xfrm>
              <a:off x="6204133" y="2319128"/>
              <a:ext cx="357580" cy="55399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3</a:t>
              </a: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6204131" y="2773061"/>
              <a:ext cx="2666056" cy="612216"/>
              <a:chOff x="2109215" y="2773061"/>
              <a:chExt cx="2666056" cy="612216"/>
            </a:xfrm>
          </p:grpSpPr>
          <p:sp>
            <p:nvSpPr>
              <p:cNvPr id="124" name="TextBox 279"/>
              <p:cNvSpPr txBox="1"/>
              <p:nvPr/>
            </p:nvSpPr>
            <p:spPr>
              <a:xfrm>
                <a:off x="2109217" y="2773061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/>
                  <a:t>LOREM IPSUM </a:t>
                </a:r>
              </a:p>
            </p:txBody>
          </p:sp>
          <p:sp>
            <p:nvSpPr>
              <p:cNvPr id="125" name="TextBox 280"/>
              <p:cNvSpPr txBox="1"/>
              <p:nvPr/>
            </p:nvSpPr>
            <p:spPr>
              <a:xfrm>
                <a:off x="2109215" y="2934996"/>
                <a:ext cx="2666056" cy="45028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789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MIND MAP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Freeform 55"/>
          <p:cNvSpPr>
            <a:spLocks/>
          </p:cNvSpPr>
          <p:nvPr/>
        </p:nvSpPr>
        <p:spPr bwMode="auto">
          <a:xfrm>
            <a:off x="2890762" y="2727434"/>
            <a:ext cx="1333532" cy="1282284"/>
          </a:xfrm>
          <a:custGeom>
            <a:avLst/>
            <a:gdLst>
              <a:gd name="T0" fmla="*/ 0 w 517"/>
              <a:gd name="T1" fmla="*/ 126 h 497"/>
              <a:gd name="T2" fmla="*/ 409 w 517"/>
              <a:gd name="T3" fmla="*/ 0 h 497"/>
              <a:gd name="T4" fmla="*/ 517 w 517"/>
              <a:gd name="T5" fmla="*/ 307 h 497"/>
              <a:gd name="T6" fmla="*/ 157 w 517"/>
              <a:gd name="T7" fmla="*/ 497 h 497"/>
              <a:gd name="T8" fmla="*/ 0 w 517"/>
              <a:gd name="T9" fmla="*/ 126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7" h="497">
                <a:moveTo>
                  <a:pt x="0" y="126"/>
                </a:moveTo>
                <a:cubicBezTo>
                  <a:pt x="0" y="126"/>
                  <a:pt x="276" y="278"/>
                  <a:pt x="409" y="0"/>
                </a:cubicBezTo>
                <a:cubicBezTo>
                  <a:pt x="517" y="307"/>
                  <a:pt x="517" y="307"/>
                  <a:pt x="517" y="307"/>
                </a:cubicBezTo>
                <a:cubicBezTo>
                  <a:pt x="517" y="307"/>
                  <a:pt x="283" y="210"/>
                  <a:pt x="157" y="497"/>
                </a:cubicBezTo>
                <a:lnTo>
                  <a:pt x="0" y="1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7" name="Oval 56"/>
          <p:cNvSpPr>
            <a:spLocks noChangeArrowheads="1"/>
          </p:cNvSpPr>
          <p:nvPr/>
        </p:nvSpPr>
        <p:spPr bwMode="auto">
          <a:xfrm>
            <a:off x="3880825" y="2413405"/>
            <a:ext cx="1163433" cy="11634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8" name="Oval 7"/>
          <p:cNvSpPr>
            <a:spLocks noChangeArrowheads="1"/>
          </p:cNvSpPr>
          <p:nvPr/>
        </p:nvSpPr>
        <p:spPr bwMode="auto">
          <a:xfrm flipH="1">
            <a:off x="3880825" y="2413405"/>
            <a:ext cx="1163433" cy="1163433"/>
          </a:xfrm>
          <a:prstGeom prst="pie">
            <a:avLst>
              <a:gd name="adj1" fmla="val 4791205"/>
              <a:gd name="adj2" fmla="val 16200000"/>
            </a:avLst>
          </a:prstGeom>
          <a:solidFill>
            <a:schemeClr val="accent1">
              <a:alpha val="6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9" name="Oval 58"/>
          <p:cNvSpPr>
            <a:spLocks noChangeArrowheads="1"/>
          </p:cNvSpPr>
          <p:nvPr/>
        </p:nvSpPr>
        <p:spPr bwMode="auto">
          <a:xfrm>
            <a:off x="4031297" y="2564968"/>
            <a:ext cx="861398" cy="859217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0" name="Oval 59"/>
          <p:cNvSpPr>
            <a:spLocks noChangeArrowheads="1"/>
          </p:cNvSpPr>
          <p:nvPr/>
        </p:nvSpPr>
        <p:spPr bwMode="auto">
          <a:xfrm>
            <a:off x="4128341" y="2660921"/>
            <a:ext cx="666221" cy="668402"/>
          </a:xfrm>
          <a:prstGeom prst="ellipse">
            <a:avLst/>
          </a:prstGeom>
          <a:solidFill>
            <a:srgbClr val="46B688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1" name="Freeform 60"/>
          <p:cNvSpPr>
            <a:spLocks/>
          </p:cNvSpPr>
          <p:nvPr/>
        </p:nvSpPr>
        <p:spPr bwMode="auto">
          <a:xfrm>
            <a:off x="2866774" y="3650983"/>
            <a:ext cx="1352068" cy="1292097"/>
          </a:xfrm>
          <a:custGeom>
            <a:avLst/>
            <a:gdLst>
              <a:gd name="T0" fmla="*/ 0 w 524"/>
              <a:gd name="T1" fmla="*/ 375 h 501"/>
              <a:gd name="T2" fmla="*/ 412 w 524"/>
              <a:gd name="T3" fmla="*/ 501 h 501"/>
              <a:gd name="T4" fmla="*/ 524 w 524"/>
              <a:gd name="T5" fmla="*/ 194 h 501"/>
              <a:gd name="T6" fmla="*/ 169 w 524"/>
              <a:gd name="T7" fmla="*/ 0 h 501"/>
              <a:gd name="T8" fmla="*/ 0 w 524"/>
              <a:gd name="T9" fmla="*/ 375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4" h="501">
                <a:moveTo>
                  <a:pt x="0" y="375"/>
                </a:moveTo>
                <a:cubicBezTo>
                  <a:pt x="0" y="375"/>
                  <a:pt x="279" y="223"/>
                  <a:pt x="412" y="501"/>
                </a:cubicBezTo>
                <a:cubicBezTo>
                  <a:pt x="524" y="194"/>
                  <a:pt x="524" y="194"/>
                  <a:pt x="524" y="194"/>
                </a:cubicBezTo>
                <a:cubicBezTo>
                  <a:pt x="524" y="194"/>
                  <a:pt x="285" y="302"/>
                  <a:pt x="169" y="0"/>
                </a:cubicBezTo>
                <a:lnTo>
                  <a:pt x="0" y="37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2" name="Oval 61"/>
          <p:cNvSpPr>
            <a:spLocks noChangeArrowheads="1"/>
          </p:cNvSpPr>
          <p:nvPr/>
        </p:nvSpPr>
        <p:spPr bwMode="auto">
          <a:xfrm>
            <a:off x="3871012" y="4102400"/>
            <a:ext cx="1163433" cy="11634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3" name="Oval 7"/>
          <p:cNvSpPr>
            <a:spLocks noChangeArrowheads="1"/>
          </p:cNvSpPr>
          <p:nvPr/>
        </p:nvSpPr>
        <p:spPr bwMode="auto">
          <a:xfrm flipH="1">
            <a:off x="3871012" y="4102400"/>
            <a:ext cx="1163433" cy="1163433"/>
          </a:xfrm>
          <a:prstGeom prst="pie">
            <a:avLst>
              <a:gd name="adj1" fmla="val 2531604"/>
              <a:gd name="adj2" fmla="val 16200000"/>
            </a:avLst>
          </a:prstGeom>
          <a:solidFill>
            <a:schemeClr val="accent2">
              <a:alpha val="6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4" name="Oval 63"/>
          <p:cNvSpPr>
            <a:spLocks noChangeArrowheads="1"/>
          </p:cNvSpPr>
          <p:nvPr/>
        </p:nvSpPr>
        <p:spPr bwMode="auto">
          <a:xfrm>
            <a:off x="4020393" y="4255053"/>
            <a:ext cx="861398" cy="861398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5" name="Oval 64"/>
          <p:cNvSpPr>
            <a:spLocks noChangeArrowheads="1"/>
          </p:cNvSpPr>
          <p:nvPr/>
        </p:nvSpPr>
        <p:spPr bwMode="auto">
          <a:xfrm>
            <a:off x="4118527" y="4353187"/>
            <a:ext cx="665130" cy="665130"/>
          </a:xfrm>
          <a:prstGeom prst="ellipse">
            <a:avLst/>
          </a:prstGeom>
          <a:solidFill>
            <a:srgbClr val="FEA34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 rot="19012925">
            <a:off x="2247119" y="2060798"/>
            <a:ext cx="1333532" cy="1282284"/>
          </a:xfrm>
          <a:custGeom>
            <a:avLst/>
            <a:gdLst>
              <a:gd name="T0" fmla="*/ 0 w 517"/>
              <a:gd name="T1" fmla="*/ 126 h 497"/>
              <a:gd name="T2" fmla="*/ 409 w 517"/>
              <a:gd name="T3" fmla="*/ 0 h 497"/>
              <a:gd name="T4" fmla="*/ 517 w 517"/>
              <a:gd name="T5" fmla="*/ 307 h 497"/>
              <a:gd name="T6" fmla="*/ 157 w 517"/>
              <a:gd name="T7" fmla="*/ 497 h 497"/>
              <a:gd name="T8" fmla="*/ 0 w 517"/>
              <a:gd name="T9" fmla="*/ 126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7" h="497">
                <a:moveTo>
                  <a:pt x="0" y="126"/>
                </a:moveTo>
                <a:cubicBezTo>
                  <a:pt x="0" y="126"/>
                  <a:pt x="276" y="278"/>
                  <a:pt x="409" y="0"/>
                </a:cubicBezTo>
                <a:cubicBezTo>
                  <a:pt x="517" y="307"/>
                  <a:pt x="517" y="307"/>
                  <a:pt x="517" y="307"/>
                </a:cubicBezTo>
                <a:cubicBezTo>
                  <a:pt x="517" y="307"/>
                  <a:pt x="283" y="210"/>
                  <a:pt x="157" y="497"/>
                </a:cubicBezTo>
                <a:lnTo>
                  <a:pt x="0" y="1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7" name="Freeform 66"/>
          <p:cNvSpPr>
            <a:spLocks/>
          </p:cNvSpPr>
          <p:nvPr/>
        </p:nvSpPr>
        <p:spPr bwMode="auto">
          <a:xfrm rot="2674789" flipV="1">
            <a:off x="2120815" y="4282253"/>
            <a:ext cx="1333532" cy="1282284"/>
          </a:xfrm>
          <a:custGeom>
            <a:avLst/>
            <a:gdLst>
              <a:gd name="T0" fmla="*/ 0 w 517"/>
              <a:gd name="T1" fmla="*/ 126 h 497"/>
              <a:gd name="T2" fmla="*/ 409 w 517"/>
              <a:gd name="T3" fmla="*/ 0 h 497"/>
              <a:gd name="T4" fmla="*/ 517 w 517"/>
              <a:gd name="T5" fmla="*/ 307 h 497"/>
              <a:gd name="T6" fmla="*/ 157 w 517"/>
              <a:gd name="T7" fmla="*/ 497 h 497"/>
              <a:gd name="T8" fmla="*/ 0 w 517"/>
              <a:gd name="T9" fmla="*/ 126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7" h="497">
                <a:moveTo>
                  <a:pt x="0" y="126"/>
                </a:moveTo>
                <a:cubicBezTo>
                  <a:pt x="0" y="126"/>
                  <a:pt x="276" y="278"/>
                  <a:pt x="409" y="0"/>
                </a:cubicBezTo>
                <a:cubicBezTo>
                  <a:pt x="517" y="307"/>
                  <a:pt x="517" y="307"/>
                  <a:pt x="517" y="307"/>
                </a:cubicBezTo>
                <a:cubicBezTo>
                  <a:pt x="517" y="307"/>
                  <a:pt x="283" y="210"/>
                  <a:pt x="157" y="497"/>
                </a:cubicBezTo>
                <a:lnTo>
                  <a:pt x="0" y="1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8" name="Oval 67"/>
          <p:cNvSpPr>
            <a:spLocks noChangeArrowheads="1"/>
          </p:cNvSpPr>
          <p:nvPr/>
        </p:nvSpPr>
        <p:spPr bwMode="auto">
          <a:xfrm>
            <a:off x="1466730" y="2913888"/>
            <a:ext cx="1843828" cy="1843828"/>
          </a:xfrm>
          <a:prstGeom prst="ellipse">
            <a:avLst/>
          </a:prstGeom>
          <a:solidFill>
            <a:schemeClr val="bg2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9" name="Oval 68"/>
          <p:cNvSpPr>
            <a:spLocks noChangeArrowheads="1"/>
          </p:cNvSpPr>
          <p:nvPr/>
        </p:nvSpPr>
        <p:spPr bwMode="auto">
          <a:xfrm>
            <a:off x="1626732" y="3073890"/>
            <a:ext cx="1523825" cy="1523825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0" name="TextBox 212"/>
          <p:cNvSpPr txBox="1"/>
          <p:nvPr/>
        </p:nvSpPr>
        <p:spPr>
          <a:xfrm>
            <a:off x="1666398" y="3815573"/>
            <a:ext cx="1444492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</a:t>
            </a:r>
          </a:p>
        </p:txBody>
      </p:sp>
      <p:sp>
        <p:nvSpPr>
          <p:cNvPr id="194" name="TextBox 214"/>
          <p:cNvSpPr txBox="1"/>
          <p:nvPr/>
        </p:nvSpPr>
        <p:spPr>
          <a:xfrm>
            <a:off x="1921767" y="3521620"/>
            <a:ext cx="933754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/>
              <a:t>LOREM IPSUM</a:t>
            </a:r>
          </a:p>
        </p:txBody>
      </p:sp>
      <p:cxnSp>
        <p:nvCxnSpPr>
          <p:cNvPr id="193" name="Straight Connector 192"/>
          <p:cNvCxnSpPr/>
          <p:nvPr/>
        </p:nvCxnSpPr>
        <p:spPr>
          <a:xfrm>
            <a:off x="2300167" y="3760930"/>
            <a:ext cx="176955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/>
          <p:cNvSpPr>
            <a:spLocks noChangeArrowheads="1"/>
          </p:cNvSpPr>
          <p:nvPr/>
        </p:nvSpPr>
        <p:spPr bwMode="auto">
          <a:xfrm>
            <a:off x="2728841" y="1221567"/>
            <a:ext cx="1163433" cy="11634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2" name="Oval 7"/>
          <p:cNvSpPr>
            <a:spLocks noChangeArrowheads="1"/>
          </p:cNvSpPr>
          <p:nvPr/>
        </p:nvSpPr>
        <p:spPr bwMode="auto">
          <a:xfrm flipH="1">
            <a:off x="2728841" y="1221567"/>
            <a:ext cx="1163433" cy="1163433"/>
          </a:xfrm>
          <a:prstGeom prst="pie">
            <a:avLst>
              <a:gd name="adj1" fmla="val 10799997"/>
              <a:gd name="adj2" fmla="val 16200000"/>
            </a:avLst>
          </a:prstGeom>
          <a:solidFill>
            <a:schemeClr val="tx2">
              <a:alpha val="6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2879313" y="1373130"/>
            <a:ext cx="861398" cy="859217"/>
            <a:chOff x="1844383" y="1394308"/>
            <a:chExt cx="861398" cy="859217"/>
          </a:xfrm>
        </p:grpSpPr>
        <p:sp>
          <p:nvSpPr>
            <p:cNvPr id="188" name="Oval 187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9" name="Oval 188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016AA3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80" name="Oval 79"/>
          <p:cNvSpPr>
            <a:spLocks noChangeArrowheads="1"/>
          </p:cNvSpPr>
          <p:nvPr/>
        </p:nvSpPr>
        <p:spPr bwMode="auto">
          <a:xfrm>
            <a:off x="2595784" y="5232968"/>
            <a:ext cx="1163433" cy="11634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2" name="Oval 7"/>
          <p:cNvSpPr>
            <a:spLocks noChangeArrowheads="1"/>
          </p:cNvSpPr>
          <p:nvPr/>
        </p:nvSpPr>
        <p:spPr bwMode="auto">
          <a:xfrm flipH="1">
            <a:off x="2595784" y="5232968"/>
            <a:ext cx="1163433" cy="1163433"/>
          </a:xfrm>
          <a:prstGeom prst="pie">
            <a:avLst>
              <a:gd name="adj1" fmla="val 20470388"/>
              <a:gd name="adj2" fmla="val 16200000"/>
            </a:avLst>
          </a:prstGeom>
          <a:solidFill>
            <a:schemeClr val="accent3">
              <a:alpha val="6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5" name="Oval 84"/>
          <p:cNvSpPr>
            <a:spLocks noChangeArrowheads="1"/>
          </p:cNvSpPr>
          <p:nvPr/>
        </p:nvSpPr>
        <p:spPr bwMode="auto">
          <a:xfrm>
            <a:off x="2746256" y="5384531"/>
            <a:ext cx="861398" cy="859217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6" name="Oval 85"/>
          <p:cNvSpPr>
            <a:spLocks noChangeArrowheads="1"/>
          </p:cNvSpPr>
          <p:nvPr/>
        </p:nvSpPr>
        <p:spPr bwMode="auto">
          <a:xfrm>
            <a:off x="2843300" y="5480484"/>
            <a:ext cx="666221" cy="668402"/>
          </a:xfrm>
          <a:prstGeom prst="ellipse">
            <a:avLst/>
          </a:prstGeom>
          <a:solidFill>
            <a:srgbClr val="AAAAAA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7" name="TextBox 336"/>
          <p:cNvSpPr txBox="1"/>
          <p:nvPr/>
        </p:nvSpPr>
        <p:spPr>
          <a:xfrm>
            <a:off x="3034707" y="1680174"/>
            <a:ext cx="54952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prstClr val="white"/>
                </a:solidFill>
              </a:rPr>
              <a:t>25%</a:t>
            </a:r>
          </a:p>
        </p:txBody>
      </p:sp>
      <p:sp>
        <p:nvSpPr>
          <p:cNvPr id="88" name="TextBox 337"/>
          <p:cNvSpPr txBox="1"/>
          <p:nvPr/>
        </p:nvSpPr>
        <p:spPr>
          <a:xfrm>
            <a:off x="4186691" y="2872012"/>
            <a:ext cx="54952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prstClr val="white"/>
                </a:solidFill>
              </a:rPr>
              <a:t>65%</a:t>
            </a:r>
          </a:p>
        </p:txBody>
      </p:sp>
      <p:sp>
        <p:nvSpPr>
          <p:cNvPr id="89" name="TextBox 338"/>
          <p:cNvSpPr txBox="1"/>
          <p:nvPr/>
        </p:nvSpPr>
        <p:spPr>
          <a:xfrm>
            <a:off x="4176332" y="4562642"/>
            <a:ext cx="54952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prstClr val="white"/>
                </a:solidFill>
              </a:rPr>
              <a:t>70%</a:t>
            </a:r>
          </a:p>
        </p:txBody>
      </p:sp>
      <p:sp>
        <p:nvSpPr>
          <p:cNvPr id="90" name="TextBox 339"/>
          <p:cNvSpPr txBox="1"/>
          <p:nvPr/>
        </p:nvSpPr>
        <p:spPr>
          <a:xfrm>
            <a:off x="2901650" y="5691575"/>
            <a:ext cx="54952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prstClr val="white"/>
                </a:solidFill>
              </a:rPr>
              <a:t>80%</a:t>
            </a:r>
          </a:p>
        </p:txBody>
      </p:sp>
      <p:cxnSp>
        <p:nvCxnSpPr>
          <p:cNvPr id="91" name="Straight Connector 90"/>
          <p:cNvCxnSpPr/>
          <p:nvPr/>
        </p:nvCxnSpPr>
        <p:spPr>
          <a:xfrm flipV="1">
            <a:off x="4031297" y="1802738"/>
            <a:ext cx="2166183" cy="546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 flipV="1">
            <a:off x="5139880" y="2995121"/>
            <a:ext cx="1057600" cy="1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V="1">
            <a:off x="5120646" y="4684116"/>
            <a:ext cx="1057600" cy="1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3908764" y="5814411"/>
            <a:ext cx="2288716" cy="0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/>
          <p:cNvGrpSpPr/>
          <p:nvPr/>
        </p:nvGrpSpPr>
        <p:grpSpPr>
          <a:xfrm>
            <a:off x="6349204" y="4392324"/>
            <a:ext cx="588346" cy="586856"/>
            <a:chOff x="1844383" y="1394308"/>
            <a:chExt cx="861398" cy="859217"/>
          </a:xfrm>
        </p:grpSpPr>
        <p:sp>
          <p:nvSpPr>
            <p:cNvPr id="185" name="Oval 184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7" name="Oval 186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FEA34F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6349204" y="2701694"/>
            <a:ext cx="588346" cy="586856"/>
            <a:chOff x="1844383" y="1394308"/>
            <a:chExt cx="861398" cy="859217"/>
          </a:xfrm>
        </p:grpSpPr>
        <p:sp>
          <p:nvSpPr>
            <p:cNvPr id="177" name="Oval 176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8" name="Oval 177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46B688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49204" y="1509310"/>
            <a:ext cx="588346" cy="586856"/>
            <a:chOff x="1844383" y="1394308"/>
            <a:chExt cx="861398" cy="859217"/>
          </a:xfrm>
        </p:grpSpPr>
        <p:sp>
          <p:nvSpPr>
            <p:cNvPr id="165" name="Oval 164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6" name="Oval 165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016AA3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6349204" y="5516387"/>
            <a:ext cx="588346" cy="586856"/>
            <a:chOff x="1844383" y="1394308"/>
            <a:chExt cx="861398" cy="859217"/>
          </a:xfrm>
        </p:grpSpPr>
        <p:sp>
          <p:nvSpPr>
            <p:cNvPr id="156" name="Oval 155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7" name="Oval 156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AAAAAA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7089274" y="1569246"/>
            <a:ext cx="3635996" cy="4720282"/>
            <a:chOff x="7578344" y="1241598"/>
            <a:chExt cx="2657856" cy="4720282"/>
          </a:xfrm>
        </p:grpSpPr>
        <p:grpSp>
          <p:nvGrpSpPr>
            <p:cNvPr id="114" name="Group 113"/>
            <p:cNvGrpSpPr/>
            <p:nvPr/>
          </p:nvGrpSpPr>
          <p:grpSpPr>
            <a:xfrm>
              <a:off x="7578344" y="1241598"/>
              <a:ext cx="2657856" cy="713205"/>
              <a:chOff x="6054344" y="1612285"/>
              <a:chExt cx="2482396" cy="713205"/>
            </a:xfrm>
          </p:grpSpPr>
          <p:sp>
            <p:nvSpPr>
              <p:cNvPr id="140" name="TextBox 364"/>
              <p:cNvSpPr txBox="1"/>
              <p:nvPr/>
            </p:nvSpPr>
            <p:spPr>
              <a:xfrm>
                <a:off x="6054344" y="1771492"/>
                <a:ext cx="2482396" cy="55399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41" name="TextBox 365"/>
              <p:cNvSpPr txBox="1"/>
              <p:nvPr/>
            </p:nvSpPr>
            <p:spPr>
              <a:xfrm>
                <a:off x="6054344" y="1612285"/>
                <a:ext cx="2482396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/>
                  <a:t>LOREM IPSUM</a:t>
                </a:r>
              </a:p>
            </p:txBody>
          </p:sp>
        </p:grpSp>
        <p:grpSp>
          <p:nvGrpSpPr>
            <p:cNvPr id="115" name="Group 114"/>
            <p:cNvGrpSpPr/>
            <p:nvPr/>
          </p:nvGrpSpPr>
          <p:grpSpPr>
            <a:xfrm>
              <a:off x="7578344" y="2433982"/>
              <a:ext cx="2657856" cy="713205"/>
              <a:chOff x="6054344" y="1612285"/>
              <a:chExt cx="2482396" cy="713205"/>
            </a:xfrm>
          </p:grpSpPr>
          <p:sp>
            <p:nvSpPr>
              <p:cNvPr id="138" name="TextBox 372"/>
              <p:cNvSpPr txBox="1"/>
              <p:nvPr/>
            </p:nvSpPr>
            <p:spPr>
              <a:xfrm>
                <a:off x="6054344" y="1771492"/>
                <a:ext cx="2482396" cy="55399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39" name="TextBox 373"/>
              <p:cNvSpPr txBox="1"/>
              <p:nvPr/>
            </p:nvSpPr>
            <p:spPr>
              <a:xfrm>
                <a:off x="6054344" y="1612285"/>
                <a:ext cx="2482396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/>
                  <a:t>LOREM IPSUM</a:t>
                </a:r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>
              <a:off x="7578344" y="4124612"/>
              <a:ext cx="2657856" cy="713205"/>
              <a:chOff x="6054344" y="1612285"/>
              <a:chExt cx="2482396" cy="713205"/>
            </a:xfrm>
          </p:grpSpPr>
          <p:sp>
            <p:nvSpPr>
              <p:cNvPr id="120" name="TextBox 375"/>
              <p:cNvSpPr txBox="1"/>
              <p:nvPr/>
            </p:nvSpPr>
            <p:spPr>
              <a:xfrm>
                <a:off x="6054344" y="1771492"/>
                <a:ext cx="2482396" cy="55399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21" name="TextBox 376"/>
              <p:cNvSpPr txBox="1"/>
              <p:nvPr/>
            </p:nvSpPr>
            <p:spPr>
              <a:xfrm>
                <a:off x="6054344" y="1612285"/>
                <a:ext cx="2482396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/>
                  <a:t>LOREM IPSUM</a:t>
                </a: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>
              <a:off x="7578344" y="5248675"/>
              <a:ext cx="2657856" cy="713205"/>
              <a:chOff x="6054344" y="1612285"/>
              <a:chExt cx="2482396" cy="713205"/>
            </a:xfrm>
          </p:grpSpPr>
          <p:sp>
            <p:nvSpPr>
              <p:cNvPr id="118" name="TextBox 378"/>
              <p:cNvSpPr txBox="1"/>
              <p:nvPr/>
            </p:nvSpPr>
            <p:spPr>
              <a:xfrm>
                <a:off x="6054344" y="1771492"/>
                <a:ext cx="2482396" cy="55399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/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19" name="TextBox 379"/>
              <p:cNvSpPr txBox="1"/>
              <p:nvPr/>
            </p:nvSpPr>
            <p:spPr>
              <a:xfrm>
                <a:off x="6054344" y="1612285"/>
                <a:ext cx="2482396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/>
                  <a:t>LOREM IPSUM</a:t>
                </a:r>
              </a:p>
            </p:txBody>
          </p:sp>
        </p:grpSp>
      </p:grpSp>
      <p:sp>
        <p:nvSpPr>
          <p:cNvPr id="208" name="Freeform 3391"/>
          <p:cNvSpPr>
            <a:spLocks noEditPoints="1"/>
          </p:cNvSpPr>
          <p:nvPr/>
        </p:nvSpPr>
        <p:spPr bwMode="auto">
          <a:xfrm>
            <a:off x="6550976" y="1707483"/>
            <a:ext cx="184058" cy="184058"/>
          </a:xfrm>
          <a:custGeom>
            <a:avLst/>
            <a:gdLst>
              <a:gd name="T0" fmla="*/ 400 w 721"/>
              <a:gd name="T1" fmla="*/ 502 h 721"/>
              <a:gd name="T2" fmla="*/ 441 w 721"/>
              <a:gd name="T3" fmla="*/ 487 h 721"/>
              <a:gd name="T4" fmla="*/ 456 w 721"/>
              <a:gd name="T5" fmla="*/ 469 h 721"/>
              <a:gd name="T6" fmla="*/ 477 w 721"/>
              <a:gd name="T7" fmla="*/ 475 h 721"/>
              <a:gd name="T8" fmla="*/ 498 w 721"/>
              <a:gd name="T9" fmla="*/ 505 h 721"/>
              <a:gd name="T10" fmla="*/ 361 w 721"/>
              <a:gd name="T11" fmla="*/ 709 h 721"/>
              <a:gd name="T12" fmla="*/ 315 w 721"/>
              <a:gd name="T13" fmla="*/ 654 h 721"/>
              <a:gd name="T14" fmla="*/ 347 w 721"/>
              <a:gd name="T15" fmla="*/ 606 h 721"/>
              <a:gd name="T16" fmla="*/ 365 w 721"/>
              <a:gd name="T17" fmla="*/ 601 h 721"/>
              <a:gd name="T18" fmla="*/ 387 w 721"/>
              <a:gd name="T19" fmla="*/ 623 h 721"/>
              <a:gd name="T20" fmla="*/ 415 w 721"/>
              <a:gd name="T21" fmla="*/ 691 h 721"/>
              <a:gd name="T22" fmla="*/ 225 w 721"/>
              <a:gd name="T23" fmla="*/ 505 h 721"/>
              <a:gd name="T24" fmla="*/ 245 w 721"/>
              <a:gd name="T25" fmla="*/ 477 h 721"/>
              <a:gd name="T26" fmla="*/ 265 w 721"/>
              <a:gd name="T27" fmla="*/ 469 h 721"/>
              <a:gd name="T28" fmla="*/ 280 w 721"/>
              <a:gd name="T29" fmla="*/ 487 h 721"/>
              <a:gd name="T30" fmla="*/ 321 w 721"/>
              <a:gd name="T31" fmla="*/ 502 h 721"/>
              <a:gd name="T32" fmla="*/ 222 w 721"/>
              <a:gd name="T33" fmla="*/ 511 h 721"/>
              <a:gd name="T34" fmla="*/ 397 w 721"/>
              <a:gd name="T35" fmla="*/ 541 h 721"/>
              <a:gd name="T36" fmla="*/ 385 w 721"/>
              <a:gd name="T37" fmla="*/ 565 h 721"/>
              <a:gd name="T38" fmla="*/ 361 w 721"/>
              <a:gd name="T39" fmla="*/ 577 h 721"/>
              <a:gd name="T40" fmla="*/ 335 w 721"/>
              <a:gd name="T41" fmla="*/ 565 h 721"/>
              <a:gd name="T42" fmla="*/ 325 w 721"/>
              <a:gd name="T43" fmla="*/ 541 h 721"/>
              <a:gd name="T44" fmla="*/ 681 w 721"/>
              <a:gd name="T45" fmla="*/ 552 h 721"/>
              <a:gd name="T46" fmla="*/ 633 w 721"/>
              <a:gd name="T47" fmla="*/ 522 h 721"/>
              <a:gd name="T48" fmla="*/ 524 w 721"/>
              <a:gd name="T49" fmla="*/ 477 h 721"/>
              <a:gd name="T50" fmla="*/ 484 w 721"/>
              <a:gd name="T51" fmla="*/ 448 h 721"/>
              <a:gd name="T52" fmla="*/ 457 w 721"/>
              <a:gd name="T53" fmla="*/ 433 h 721"/>
              <a:gd name="T54" fmla="*/ 466 w 721"/>
              <a:gd name="T55" fmla="*/ 366 h 721"/>
              <a:gd name="T56" fmla="*/ 489 w 721"/>
              <a:gd name="T57" fmla="*/ 322 h 721"/>
              <a:gd name="T58" fmla="*/ 504 w 721"/>
              <a:gd name="T59" fmla="*/ 279 h 721"/>
              <a:gd name="T60" fmla="*/ 513 w 721"/>
              <a:gd name="T61" fmla="*/ 247 h 721"/>
              <a:gd name="T62" fmla="*/ 506 w 721"/>
              <a:gd name="T63" fmla="*/ 215 h 721"/>
              <a:gd name="T64" fmla="*/ 501 w 721"/>
              <a:gd name="T65" fmla="*/ 193 h 721"/>
              <a:gd name="T66" fmla="*/ 527 w 721"/>
              <a:gd name="T67" fmla="*/ 102 h 721"/>
              <a:gd name="T68" fmla="*/ 519 w 721"/>
              <a:gd name="T69" fmla="*/ 51 h 721"/>
              <a:gd name="T70" fmla="*/ 493 w 721"/>
              <a:gd name="T71" fmla="*/ 26 h 721"/>
              <a:gd name="T72" fmla="*/ 453 w 721"/>
              <a:gd name="T73" fmla="*/ 9 h 721"/>
              <a:gd name="T74" fmla="*/ 383 w 721"/>
              <a:gd name="T75" fmla="*/ 0 h 721"/>
              <a:gd name="T76" fmla="*/ 311 w 721"/>
              <a:gd name="T77" fmla="*/ 9 h 721"/>
              <a:gd name="T78" fmla="*/ 271 w 721"/>
              <a:gd name="T79" fmla="*/ 32 h 721"/>
              <a:gd name="T80" fmla="*/ 239 w 721"/>
              <a:gd name="T81" fmla="*/ 50 h 721"/>
              <a:gd name="T82" fmla="*/ 222 w 721"/>
              <a:gd name="T83" fmla="*/ 66 h 721"/>
              <a:gd name="T84" fmla="*/ 211 w 721"/>
              <a:gd name="T85" fmla="*/ 95 h 721"/>
              <a:gd name="T86" fmla="*/ 217 w 721"/>
              <a:gd name="T87" fmla="*/ 164 h 721"/>
              <a:gd name="T88" fmla="*/ 227 w 721"/>
              <a:gd name="T89" fmla="*/ 202 h 721"/>
              <a:gd name="T90" fmla="*/ 212 w 721"/>
              <a:gd name="T91" fmla="*/ 230 h 721"/>
              <a:gd name="T92" fmla="*/ 213 w 721"/>
              <a:gd name="T93" fmla="*/ 263 h 721"/>
              <a:gd name="T94" fmla="*/ 229 w 721"/>
              <a:gd name="T95" fmla="*/ 290 h 721"/>
              <a:gd name="T96" fmla="*/ 243 w 721"/>
              <a:gd name="T97" fmla="*/ 348 h 721"/>
              <a:gd name="T98" fmla="*/ 265 w 721"/>
              <a:gd name="T99" fmla="*/ 378 h 721"/>
              <a:gd name="T100" fmla="*/ 249 w 721"/>
              <a:gd name="T101" fmla="*/ 441 h 721"/>
              <a:gd name="T102" fmla="*/ 209 w 721"/>
              <a:gd name="T103" fmla="*/ 473 h 721"/>
              <a:gd name="T104" fmla="*/ 134 w 721"/>
              <a:gd name="T105" fmla="*/ 502 h 721"/>
              <a:gd name="T106" fmla="*/ 50 w 721"/>
              <a:gd name="T107" fmla="*/ 547 h 721"/>
              <a:gd name="T108" fmla="*/ 28 w 721"/>
              <a:gd name="T109" fmla="*/ 573 h 721"/>
              <a:gd name="T110" fmla="*/ 9 w 721"/>
              <a:gd name="T111" fmla="*/ 629 h 721"/>
              <a:gd name="T112" fmla="*/ 0 w 721"/>
              <a:gd name="T113" fmla="*/ 713 h 721"/>
              <a:gd name="T114" fmla="*/ 709 w 721"/>
              <a:gd name="T115" fmla="*/ 721 h 721"/>
              <a:gd name="T116" fmla="*/ 721 w 721"/>
              <a:gd name="T117" fmla="*/ 709 h 721"/>
              <a:gd name="T118" fmla="*/ 709 w 721"/>
              <a:gd name="T119" fmla="*/ 606 h 721"/>
              <a:gd name="T120" fmla="*/ 691 w 721"/>
              <a:gd name="T121" fmla="*/ 564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1" h="721">
                <a:moveTo>
                  <a:pt x="415" y="510"/>
                </a:moveTo>
                <a:lnTo>
                  <a:pt x="415" y="510"/>
                </a:lnTo>
                <a:lnTo>
                  <a:pt x="415" y="510"/>
                </a:lnTo>
                <a:lnTo>
                  <a:pt x="400" y="502"/>
                </a:lnTo>
                <a:lnTo>
                  <a:pt x="414" y="498"/>
                </a:lnTo>
                <a:lnTo>
                  <a:pt x="428" y="493"/>
                </a:lnTo>
                <a:lnTo>
                  <a:pt x="434" y="491"/>
                </a:lnTo>
                <a:lnTo>
                  <a:pt x="441" y="487"/>
                </a:lnTo>
                <a:lnTo>
                  <a:pt x="447" y="482"/>
                </a:lnTo>
                <a:lnTo>
                  <a:pt x="453" y="477"/>
                </a:lnTo>
                <a:lnTo>
                  <a:pt x="456" y="473"/>
                </a:lnTo>
                <a:lnTo>
                  <a:pt x="456" y="469"/>
                </a:lnTo>
                <a:lnTo>
                  <a:pt x="456" y="459"/>
                </a:lnTo>
                <a:lnTo>
                  <a:pt x="464" y="462"/>
                </a:lnTo>
                <a:lnTo>
                  <a:pt x="470" y="469"/>
                </a:lnTo>
                <a:lnTo>
                  <a:pt x="477" y="475"/>
                </a:lnTo>
                <a:lnTo>
                  <a:pt x="483" y="482"/>
                </a:lnTo>
                <a:lnTo>
                  <a:pt x="489" y="489"/>
                </a:lnTo>
                <a:lnTo>
                  <a:pt x="495" y="497"/>
                </a:lnTo>
                <a:lnTo>
                  <a:pt x="498" y="505"/>
                </a:lnTo>
                <a:lnTo>
                  <a:pt x="501" y="511"/>
                </a:lnTo>
                <a:lnTo>
                  <a:pt x="522" y="574"/>
                </a:lnTo>
                <a:lnTo>
                  <a:pt x="415" y="510"/>
                </a:lnTo>
                <a:close/>
                <a:moveTo>
                  <a:pt x="361" y="709"/>
                </a:moveTo>
                <a:lnTo>
                  <a:pt x="293" y="709"/>
                </a:lnTo>
                <a:lnTo>
                  <a:pt x="299" y="691"/>
                </a:lnTo>
                <a:lnTo>
                  <a:pt x="306" y="672"/>
                </a:lnTo>
                <a:lnTo>
                  <a:pt x="315" y="654"/>
                </a:lnTo>
                <a:lnTo>
                  <a:pt x="322" y="637"/>
                </a:lnTo>
                <a:lnTo>
                  <a:pt x="333" y="623"/>
                </a:lnTo>
                <a:lnTo>
                  <a:pt x="342" y="611"/>
                </a:lnTo>
                <a:lnTo>
                  <a:pt x="347" y="606"/>
                </a:lnTo>
                <a:lnTo>
                  <a:pt x="351" y="604"/>
                </a:lnTo>
                <a:lnTo>
                  <a:pt x="356" y="601"/>
                </a:lnTo>
                <a:lnTo>
                  <a:pt x="361" y="601"/>
                </a:lnTo>
                <a:lnTo>
                  <a:pt x="365" y="601"/>
                </a:lnTo>
                <a:lnTo>
                  <a:pt x="370" y="604"/>
                </a:lnTo>
                <a:lnTo>
                  <a:pt x="374" y="606"/>
                </a:lnTo>
                <a:lnTo>
                  <a:pt x="379" y="611"/>
                </a:lnTo>
                <a:lnTo>
                  <a:pt x="387" y="623"/>
                </a:lnTo>
                <a:lnTo>
                  <a:pt x="396" y="637"/>
                </a:lnTo>
                <a:lnTo>
                  <a:pt x="403" y="654"/>
                </a:lnTo>
                <a:lnTo>
                  <a:pt x="410" y="673"/>
                </a:lnTo>
                <a:lnTo>
                  <a:pt x="415" y="691"/>
                </a:lnTo>
                <a:lnTo>
                  <a:pt x="420" y="709"/>
                </a:lnTo>
                <a:lnTo>
                  <a:pt x="361" y="709"/>
                </a:lnTo>
                <a:close/>
                <a:moveTo>
                  <a:pt x="222" y="511"/>
                </a:moveTo>
                <a:lnTo>
                  <a:pt x="225" y="505"/>
                </a:lnTo>
                <a:lnTo>
                  <a:pt x="229" y="497"/>
                </a:lnTo>
                <a:lnTo>
                  <a:pt x="234" y="489"/>
                </a:lnTo>
                <a:lnTo>
                  <a:pt x="239" y="483"/>
                </a:lnTo>
                <a:lnTo>
                  <a:pt x="245" y="477"/>
                </a:lnTo>
                <a:lnTo>
                  <a:pt x="252" y="470"/>
                </a:lnTo>
                <a:lnTo>
                  <a:pt x="258" y="464"/>
                </a:lnTo>
                <a:lnTo>
                  <a:pt x="265" y="460"/>
                </a:lnTo>
                <a:lnTo>
                  <a:pt x="265" y="469"/>
                </a:lnTo>
                <a:lnTo>
                  <a:pt x="265" y="473"/>
                </a:lnTo>
                <a:lnTo>
                  <a:pt x="267" y="477"/>
                </a:lnTo>
                <a:lnTo>
                  <a:pt x="274" y="482"/>
                </a:lnTo>
                <a:lnTo>
                  <a:pt x="280" y="487"/>
                </a:lnTo>
                <a:lnTo>
                  <a:pt x="286" y="491"/>
                </a:lnTo>
                <a:lnTo>
                  <a:pt x="293" y="493"/>
                </a:lnTo>
                <a:lnTo>
                  <a:pt x="307" y="498"/>
                </a:lnTo>
                <a:lnTo>
                  <a:pt x="321" y="502"/>
                </a:lnTo>
                <a:lnTo>
                  <a:pt x="306" y="511"/>
                </a:lnTo>
                <a:lnTo>
                  <a:pt x="306" y="511"/>
                </a:lnTo>
                <a:lnTo>
                  <a:pt x="202" y="574"/>
                </a:lnTo>
                <a:lnTo>
                  <a:pt x="222" y="511"/>
                </a:lnTo>
                <a:close/>
                <a:moveTo>
                  <a:pt x="325" y="528"/>
                </a:moveTo>
                <a:lnTo>
                  <a:pt x="361" y="506"/>
                </a:lnTo>
                <a:lnTo>
                  <a:pt x="397" y="528"/>
                </a:lnTo>
                <a:lnTo>
                  <a:pt x="397" y="541"/>
                </a:lnTo>
                <a:lnTo>
                  <a:pt x="396" y="547"/>
                </a:lnTo>
                <a:lnTo>
                  <a:pt x="393" y="554"/>
                </a:lnTo>
                <a:lnTo>
                  <a:pt x="391" y="560"/>
                </a:lnTo>
                <a:lnTo>
                  <a:pt x="385" y="565"/>
                </a:lnTo>
                <a:lnTo>
                  <a:pt x="380" y="570"/>
                </a:lnTo>
                <a:lnTo>
                  <a:pt x="374" y="573"/>
                </a:lnTo>
                <a:lnTo>
                  <a:pt x="367" y="575"/>
                </a:lnTo>
                <a:lnTo>
                  <a:pt x="361" y="577"/>
                </a:lnTo>
                <a:lnTo>
                  <a:pt x="353" y="575"/>
                </a:lnTo>
                <a:lnTo>
                  <a:pt x="347" y="573"/>
                </a:lnTo>
                <a:lnTo>
                  <a:pt x="340" y="570"/>
                </a:lnTo>
                <a:lnTo>
                  <a:pt x="335" y="565"/>
                </a:lnTo>
                <a:lnTo>
                  <a:pt x="331" y="560"/>
                </a:lnTo>
                <a:lnTo>
                  <a:pt x="328" y="554"/>
                </a:lnTo>
                <a:lnTo>
                  <a:pt x="325" y="547"/>
                </a:lnTo>
                <a:lnTo>
                  <a:pt x="325" y="541"/>
                </a:lnTo>
                <a:lnTo>
                  <a:pt x="325" y="528"/>
                </a:lnTo>
                <a:close/>
                <a:moveTo>
                  <a:pt x="691" y="564"/>
                </a:moveTo>
                <a:lnTo>
                  <a:pt x="686" y="557"/>
                </a:lnTo>
                <a:lnTo>
                  <a:pt x="681" y="552"/>
                </a:lnTo>
                <a:lnTo>
                  <a:pt x="674" y="547"/>
                </a:lnTo>
                <a:lnTo>
                  <a:pt x="668" y="541"/>
                </a:lnTo>
                <a:lnTo>
                  <a:pt x="651" y="531"/>
                </a:lnTo>
                <a:lnTo>
                  <a:pt x="633" y="522"/>
                </a:lnTo>
                <a:lnTo>
                  <a:pt x="591" y="502"/>
                </a:lnTo>
                <a:lnTo>
                  <a:pt x="545" y="484"/>
                </a:lnTo>
                <a:lnTo>
                  <a:pt x="534" y="480"/>
                </a:lnTo>
                <a:lnTo>
                  <a:pt x="524" y="477"/>
                </a:lnTo>
                <a:lnTo>
                  <a:pt x="514" y="473"/>
                </a:lnTo>
                <a:lnTo>
                  <a:pt x="504" y="469"/>
                </a:lnTo>
                <a:lnTo>
                  <a:pt x="495" y="457"/>
                </a:lnTo>
                <a:lnTo>
                  <a:pt x="484" y="448"/>
                </a:lnTo>
                <a:lnTo>
                  <a:pt x="473" y="441"/>
                </a:lnTo>
                <a:lnTo>
                  <a:pt x="462" y="434"/>
                </a:lnTo>
                <a:lnTo>
                  <a:pt x="460" y="433"/>
                </a:lnTo>
                <a:lnTo>
                  <a:pt x="457" y="433"/>
                </a:lnTo>
                <a:lnTo>
                  <a:pt x="456" y="433"/>
                </a:lnTo>
                <a:lnTo>
                  <a:pt x="456" y="378"/>
                </a:lnTo>
                <a:lnTo>
                  <a:pt x="461" y="373"/>
                </a:lnTo>
                <a:lnTo>
                  <a:pt x="466" y="366"/>
                </a:lnTo>
                <a:lnTo>
                  <a:pt x="473" y="358"/>
                </a:lnTo>
                <a:lnTo>
                  <a:pt x="479" y="348"/>
                </a:lnTo>
                <a:lnTo>
                  <a:pt x="484" y="337"/>
                </a:lnTo>
                <a:lnTo>
                  <a:pt x="489" y="322"/>
                </a:lnTo>
                <a:lnTo>
                  <a:pt x="492" y="308"/>
                </a:lnTo>
                <a:lnTo>
                  <a:pt x="495" y="290"/>
                </a:lnTo>
                <a:lnTo>
                  <a:pt x="500" y="285"/>
                </a:lnTo>
                <a:lnTo>
                  <a:pt x="504" y="279"/>
                </a:lnTo>
                <a:lnTo>
                  <a:pt x="507" y="271"/>
                </a:lnTo>
                <a:lnTo>
                  <a:pt x="510" y="262"/>
                </a:lnTo>
                <a:lnTo>
                  <a:pt x="511" y="254"/>
                </a:lnTo>
                <a:lnTo>
                  <a:pt x="513" y="247"/>
                </a:lnTo>
                <a:lnTo>
                  <a:pt x="513" y="238"/>
                </a:lnTo>
                <a:lnTo>
                  <a:pt x="511" y="230"/>
                </a:lnTo>
                <a:lnTo>
                  <a:pt x="510" y="222"/>
                </a:lnTo>
                <a:lnTo>
                  <a:pt x="506" y="215"/>
                </a:lnTo>
                <a:lnTo>
                  <a:pt x="502" y="208"/>
                </a:lnTo>
                <a:lnTo>
                  <a:pt x="497" y="202"/>
                </a:lnTo>
                <a:lnTo>
                  <a:pt x="498" y="198"/>
                </a:lnTo>
                <a:lnTo>
                  <a:pt x="501" y="193"/>
                </a:lnTo>
                <a:lnTo>
                  <a:pt x="510" y="167"/>
                </a:lnTo>
                <a:lnTo>
                  <a:pt x="520" y="135"/>
                </a:lnTo>
                <a:lnTo>
                  <a:pt x="524" y="118"/>
                </a:lnTo>
                <a:lnTo>
                  <a:pt x="527" y="102"/>
                </a:lnTo>
                <a:lnTo>
                  <a:pt x="527" y="85"/>
                </a:lnTo>
                <a:lnTo>
                  <a:pt x="525" y="68"/>
                </a:lnTo>
                <a:lnTo>
                  <a:pt x="523" y="59"/>
                </a:lnTo>
                <a:lnTo>
                  <a:pt x="519" y="51"/>
                </a:lnTo>
                <a:lnTo>
                  <a:pt x="514" y="44"/>
                </a:lnTo>
                <a:lnTo>
                  <a:pt x="509" y="37"/>
                </a:lnTo>
                <a:lnTo>
                  <a:pt x="501" y="31"/>
                </a:lnTo>
                <a:lnTo>
                  <a:pt x="493" y="26"/>
                </a:lnTo>
                <a:lnTo>
                  <a:pt x="484" y="21"/>
                </a:lnTo>
                <a:lnTo>
                  <a:pt x="475" y="16"/>
                </a:lnTo>
                <a:lnTo>
                  <a:pt x="465" y="12"/>
                </a:lnTo>
                <a:lnTo>
                  <a:pt x="453" y="9"/>
                </a:lnTo>
                <a:lnTo>
                  <a:pt x="442" y="7"/>
                </a:lnTo>
                <a:lnTo>
                  <a:pt x="430" y="4"/>
                </a:lnTo>
                <a:lnTo>
                  <a:pt x="407" y="0"/>
                </a:lnTo>
                <a:lnTo>
                  <a:pt x="383" y="0"/>
                </a:lnTo>
                <a:lnTo>
                  <a:pt x="365" y="0"/>
                </a:lnTo>
                <a:lnTo>
                  <a:pt x="347" y="1"/>
                </a:lnTo>
                <a:lnTo>
                  <a:pt x="329" y="5"/>
                </a:lnTo>
                <a:lnTo>
                  <a:pt x="311" y="9"/>
                </a:lnTo>
                <a:lnTo>
                  <a:pt x="295" y="16"/>
                </a:lnTo>
                <a:lnTo>
                  <a:pt x="281" y="23"/>
                </a:lnTo>
                <a:lnTo>
                  <a:pt x="276" y="27"/>
                </a:lnTo>
                <a:lnTo>
                  <a:pt x="271" y="32"/>
                </a:lnTo>
                <a:lnTo>
                  <a:pt x="266" y="37"/>
                </a:lnTo>
                <a:lnTo>
                  <a:pt x="263" y="44"/>
                </a:lnTo>
                <a:lnTo>
                  <a:pt x="251" y="46"/>
                </a:lnTo>
                <a:lnTo>
                  <a:pt x="239" y="50"/>
                </a:lnTo>
                <a:lnTo>
                  <a:pt x="234" y="53"/>
                </a:lnTo>
                <a:lnTo>
                  <a:pt x="230" y="57"/>
                </a:lnTo>
                <a:lnTo>
                  <a:pt x="225" y="60"/>
                </a:lnTo>
                <a:lnTo>
                  <a:pt x="222" y="66"/>
                </a:lnTo>
                <a:lnTo>
                  <a:pt x="217" y="72"/>
                </a:lnTo>
                <a:lnTo>
                  <a:pt x="215" y="78"/>
                </a:lnTo>
                <a:lnTo>
                  <a:pt x="212" y="87"/>
                </a:lnTo>
                <a:lnTo>
                  <a:pt x="211" y="95"/>
                </a:lnTo>
                <a:lnTo>
                  <a:pt x="209" y="112"/>
                </a:lnTo>
                <a:lnTo>
                  <a:pt x="211" y="130"/>
                </a:lnTo>
                <a:lnTo>
                  <a:pt x="213" y="148"/>
                </a:lnTo>
                <a:lnTo>
                  <a:pt x="217" y="164"/>
                </a:lnTo>
                <a:lnTo>
                  <a:pt x="221" y="181"/>
                </a:lnTo>
                <a:lnTo>
                  <a:pt x="225" y="194"/>
                </a:lnTo>
                <a:lnTo>
                  <a:pt x="226" y="198"/>
                </a:lnTo>
                <a:lnTo>
                  <a:pt x="227" y="202"/>
                </a:lnTo>
                <a:lnTo>
                  <a:pt x="222" y="207"/>
                </a:lnTo>
                <a:lnTo>
                  <a:pt x="217" y="215"/>
                </a:lnTo>
                <a:lnTo>
                  <a:pt x="215" y="221"/>
                </a:lnTo>
                <a:lnTo>
                  <a:pt x="212" y="230"/>
                </a:lnTo>
                <a:lnTo>
                  <a:pt x="211" y="238"/>
                </a:lnTo>
                <a:lnTo>
                  <a:pt x="211" y="247"/>
                </a:lnTo>
                <a:lnTo>
                  <a:pt x="212" y="254"/>
                </a:lnTo>
                <a:lnTo>
                  <a:pt x="213" y="263"/>
                </a:lnTo>
                <a:lnTo>
                  <a:pt x="216" y="272"/>
                </a:lnTo>
                <a:lnTo>
                  <a:pt x="220" y="280"/>
                </a:lnTo>
                <a:lnTo>
                  <a:pt x="224" y="285"/>
                </a:lnTo>
                <a:lnTo>
                  <a:pt x="229" y="290"/>
                </a:lnTo>
                <a:lnTo>
                  <a:pt x="230" y="307"/>
                </a:lnTo>
                <a:lnTo>
                  <a:pt x="234" y="322"/>
                </a:lnTo>
                <a:lnTo>
                  <a:pt x="238" y="337"/>
                </a:lnTo>
                <a:lnTo>
                  <a:pt x="243" y="348"/>
                </a:lnTo>
                <a:lnTo>
                  <a:pt x="249" y="358"/>
                </a:lnTo>
                <a:lnTo>
                  <a:pt x="254" y="366"/>
                </a:lnTo>
                <a:lnTo>
                  <a:pt x="260" y="373"/>
                </a:lnTo>
                <a:lnTo>
                  <a:pt x="265" y="378"/>
                </a:lnTo>
                <a:lnTo>
                  <a:pt x="265" y="433"/>
                </a:lnTo>
                <a:lnTo>
                  <a:pt x="262" y="433"/>
                </a:lnTo>
                <a:lnTo>
                  <a:pt x="261" y="434"/>
                </a:lnTo>
                <a:lnTo>
                  <a:pt x="249" y="441"/>
                </a:lnTo>
                <a:lnTo>
                  <a:pt x="239" y="448"/>
                </a:lnTo>
                <a:lnTo>
                  <a:pt x="229" y="457"/>
                </a:lnTo>
                <a:lnTo>
                  <a:pt x="220" y="469"/>
                </a:lnTo>
                <a:lnTo>
                  <a:pt x="209" y="473"/>
                </a:lnTo>
                <a:lnTo>
                  <a:pt x="200" y="477"/>
                </a:lnTo>
                <a:lnTo>
                  <a:pt x="190" y="480"/>
                </a:lnTo>
                <a:lnTo>
                  <a:pt x="181" y="484"/>
                </a:lnTo>
                <a:lnTo>
                  <a:pt x="134" y="502"/>
                </a:lnTo>
                <a:lnTo>
                  <a:pt x="91" y="522"/>
                </a:lnTo>
                <a:lnTo>
                  <a:pt x="73" y="531"/>
                </a:lnTo>
                <a:lnTo>
                  <a:pt x="57" y="541"/>
                </a:lnTo>
                <a:lnTo>
                  <a:pt x="50" y="547"/>
                </a:lnTo>
                <a:lnTo>
                  <a:pt x="44" y="552"/>
                </a:lnTo>
                <a:lnTo>
                  <a:pt x="39" y="557"/>
                </a:lnTo>
                <a:lnTo>
                  <a:pt x="34" y="564"/>
                </a:lnTo>
                <a:lnTo>
                  <a:pt x="28" y="573"/>
                </a:lnTo>
                <a:lnTo>
                  <a:pt x="23" y="583"/>
                </a:lnTo>
                <a:lnTo>
                  <a:pt x="19" y="595"/>
                </a:lnTo>
                <a:lnTo>
                  <a:pt x="16" y="606"/>
                </a:lnTo>
                <a:lnTo>
                  <a:pt x="9" y="629"/>
                </a:lnTo>
                <a:lnTo>
                  <a:pt x="5" y="653"/>
                </a:lnTo>
                <a:lnTo>
                  <a:pt x="1" y="691"/>
                </a:lnTo>
                <a:lnTo>
                  <a:pt x="0" y="709"/>
                </a:lnTo>
                <a:lnTo>
                  <a:pt x="0" y="713"/>
                </a:lnTo>
                <a:lnTo>
                  <a:pt x="4" y="717"/>
                </a:lnTo>
                <a:lnTo>
                  <a:pt x="8" y="719"/>
                </a:lnTo>
                <a:lnTo>
                  <a:pt x="12" y="721"/>
                </a:lnTo>
                <a:lnTo>
                  <a:pt x="709" y="721"/>
                </a:lnTo>
                <a:lnTo>
                  <a:pt x="714" y="719"/>
                </a:lnTo>
                <a:lnTo>
                  <a:pt x="718" y="717"/>
                </a:lnTo>
                <a:lnTo>
                  <a:pt x="721" y="713"/>
                </a:lnTo>
                <a:lnTo>
                  <a:pt x="721" y="709"/>
                </a:lnTo>
                <a:lnTo>
                  <a:pt x="721" y="691"/>
                </a:lnTo>
                <a:lnTo>
                  <a:pt x="718" y="653"/>
                </a:lnTo>
                <a:lnTo>
                  <a:pt x="714" y="629"/>
                </a:lnTo>
                <a:lnTo>
                  <a:pt x="709" y="606"/>
                </a:lnTo>
                <a:lnTo>
                  <a:pt x="705" y="595"/>
                </a:lnTo>
                <a:lnTo>
                  <a:pt x="701" y="583"/>
                </a:lnTo>
                <a:lnTo>
                  <a:pt x="696" y="573"/>
                </a:lnTo>
                <a:lnTo>
                  <a:pt x="691" y="5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9" name="Group 208"/>
          <p:cNvGrpSpPr/>
          <p:nvPr/>
        </p:nvGrpSpPr>
        <p:grpSpPr>
          <a:xfrm>
            <a:off x="6549994" y="2891199"/>
            <a:ext cx="185040" cy="191422"/>
            <a:chOff x="9882188" y="1336675"/>
            <a:chExt cx="276225" cy="285750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0" name="Freeform 3049"/>
            <p:cNvSpPr>
              <a:spLocks/>
            </p:cNvSpPr>
            <p:nvPr/>
          </p:nvSpPr>
          <p:spPr bwMode="auto">
            <a:xfrm>
              <a:off x="9893300" y="1574800"/>
              <a:ext cx="254000" cy="47625"/>
            </a:xfrm>
            <a:custGeom>
              <a:avLst/>
              <a:gdLst>
                <a:gd name="T0" fmla="*/ 584 w 641"/>
                <a:gd name="T1" fmla="*/ 0 h 120"/>
                <a:gd name="T2" fmla="*/ 57 w 641"/>
                <a:gd name="T3" fmla="*/ 0 h 120"/>
                <a:gd name="T4" fmla="*/ 51 w 641"/>
                <a:gd name="T5" fmla="*/ 0 h 120"/>
                <a:gd name="T6" fmla="*/ 45 w 641"/>
                <a:gd name="T7" fmla="*/ 1 h 120"/>
                <a:gd name="T8" fmla="*/ 39 w 641"/>
                <a:gd name="T9" fmla="*/ 3 h 120"/>
                <a:gd name="T10" fmla="*/ 33 w 641"/>
                <a:gd name="T11" fmla="*/ 5 h 120"/>
                <a:gd name="T12" fmla="*/ 27 w 641"/>
                <a:gd name="T13" fmla="*/ 7 h 120"/>
                <a:gd name="T14" fmla="*/ 22 w 641"/>
                <a:gd name="T15" fmla="*/ 11 h 120"/>
                <a:gd name="T16" fmla="*/ 18 w 641"/>
                <a:gd name="T17" fmla="*/ 14 h 120"/>
                <a:gd name="T18" fmla="*/ 14 w 641"/>
                <a:gd name="T19" fmla="*/ 19 h 120"/>
                <a:gd name="T20" fmla="*/ 9 w 641"/>
                <a:gd name="T21" fmla="*/ 26 h 120"/>
                <a:gd name="T22" fmla="*/ 6 w 641"/>
                <a:gd name="T23" fmla="*/ 32 h 120"/>
                <a:gd name="T24" fmla="*/ 3 w 641"/>
                <a:gd name="T25" fmla="*/ 41 h 120"/>
                <a:gd name="T26" fmla="*/ 1 w 641"/>
                <a:gd name="T27" fmla="*/ 49 h 120"/>
                <a:gd name="T28" fmla="*/ 0 w 641"/>
                <a:gd name="T29" fmla="*/ 54 h 120"/>
                <a:gd name="T30" fmla="*/ 0 w 641"/>
                <a:gd name="T31" fmla="*/ 60 h 120"/>
                <a:gd name="T32" fmla="*/ 1 w 641"/>
                <a:gd name="T33" fmla="*/ 72 h 120"/>
                <a:gd name="T34" fmla="*/ 3 w 641"/>
                <a:gd name="T35" fmla="*/ 82 h 120"/>
                <a:gd name="T36" fmla="*/ 8 w 641"/>
                <a:gd name="T37" fmla="*/ 92 h 120"/>
                <a:gd name="T38" fmla="*/ 14 w 641"/>
                <a:gd name="T39" fmla="*/ 101 h 120"/>
                <a:gd name="T40" fmla="*/ 19 w 641"/>
                <a:gd name="T41" fmla="*/ 105 h 120"/>
                <a:gd name="T42" fmla="*/ 22 w 641"/>
                <a:gd name="T43" fmla="*/ 108 h 120"/>
                <a:gd name="T44" fmla="*/ 27 w 641"/>
                <a:gd name="T45" fmla="*/ 112 h 120"/>
                <a:gd name="T46" fmla="*/ 32 w 641"/>
                <a:gd name="T47" fmla="*/ 114 h 120"/>
                <a:gd name="T48" fmla="*/ 38 w 641"/>
                <a:gd name="T49" fmla="*/ 117 h 120"/>
                <a:gd name="T50" fmla="*/ 44 w 641"/>
                <a:gd name="T51" fmla="*/ 119 h 120"/>
                <a:gd name="T52" fmla="*/ 50 w 641"/>
                <a:gd name="T53" fmla="*/ 119 h 120"/>
                <a:gd name="T54" fmla="*/ 57 w 641"/>
                <a:gd name="T55" fmla="*/ 120 h 120"/>
                <a:gd name="T56" fmla="*/ 584 w 641"/>
                <a:gd name="T57" fmla="*/ 120 h 120"/>
                <a:gd name="T58" fmla="*/ 591 w 641"/>
                <a:gd name="T59" fmla="*/ 119 h 120"/>
                <a:gd name="T60" fmla="*/ 597 w 641"/>
                <a:gd name="T61" fmla="*/ 118 h 120"/>
                <a:gd name="T62" fmla="*/ 603 w 641"/>
                <a:gd name="T63" fmla="*/ 117 h 120"/>
                <a:gd name="T64" fmla="*/ 609 w 641"/>
                <a:gd name="T65" fmla="*/ 114 h 120"/>
                <a:gd name="T66" fmla="*/ 613 w 641"/>
                <a:gd name="T67" fmla="*/ 112 h 120"/>
                <a:gd name="T68" fmla="*/ 618 w 641"/>
                <a:gd name="T69" fmla="*/ 108 h 120"/>
                <a:gd name="T70" fmla="*/ 623 w 641"/>
                <a:gd name="T71" fmla="*/ 105 h 120"/>
                <a:gd name="T72" fmla="*/ 627 w 641"/>
                <a:gd name="T73" fmla="*/ 101 h 120"/>
                <a:gd name="T74" fmla="*/ 633 w 641"/>
                <a:gd name="T75" fmla="*/ 92 h 120"/>
                <a:gd name="T76" fmla="*/ 637 w 641"/>
                <a:gd name="T77" fmla="*/ 82 h 120"/>
                <a:gd name="T78" fmla="*/ 640 w 641"/>
                <a:gd name="T79" fmla="*/ 72 h 120"/>
                <a:gd name="T80" fmla="*/ 641 w 641"/>
                <a:gd name="T81" fmla="*/ 60 h 120"/>
                <a:gd name="T82" fmla="*/ 640 w 641"/>
                <a:gd name="T83" fmla="*/ 49 h 120"/>
                <a:gd name="T84" fmla="*/ 637 w 641"/>
                <a:gd name="T85" fmla="*/ 38 h 120"/>
                <a:gd name="T86" fmla="*/ 633 w 641"/>
                <a:gd name="T87" fmla="*/ 28 h 120"/>
                <a:gd name="T88" fmla="*/ 627 w 641"/>
                <a:gd name="T89" fmla="*/ 19 h 120"/>
                <a:gd name="T90" fmla="*/ 623 w 641"/>
                <a:gd name="T91" fmla="*/ 14 h 120"/>
                <a:gd name="T92" fmla="*/ 618 w 641"/>
                <a:gd name="T93" fmla="*/ 11 h 120"/>
                <a:gd name="T94" fmla="*/ 613 w 641"/>
                <a:gd name="T95" fmla="*/ 9 h 120"/>
                <a:gd name="T96" fmla="*/ 609 w 641"/>
                <a:gd name="T97" fmla="*/ 5 h 120"/>
                <a:gd name="T98" fmla="*/ 603 w 641"/>
                <a:gd name="T99" fmla="*/ 3 h 120"/>
                <a:gd name="T100" fmla="*/ 597 w 641"/>
                <a:gd name="T101" fmla="*/ 1 h 120"/>
                <a:gd name="T102" fmla="*/ 591 w 641"/>
                <a:gd name="T103" fmla="*/ 0 h 120"/>
                <a:gd name="T104" fmla="*/ 584 w 641"/>
                <a:gd name="T10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41" h="120">
                  <a:moveTo>
                    <a:pt x="584" y="0"/>
                  </a:moveTo>
                  <a:lnTo>
                    <a:pt x="57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39" y="3"/>
                  </a:lnTo>
                  <a:lnTo>
                    <a:pt x="33" y="5"/>
                  </a:lnTo>
                  <a:lnTo>
                    <a:pt x="27" y="7"/>
                  </a:lnTo>
                  <a:lnTo>
                    <a:pt x="22" y="11"/>
                  </a:lnTo>
                  <a:lnTo>
                    <a:pt x="18" y="14"/>
                  </a:lnTo>
                  <a:lnTo>
                    <a:pt x="14" y="19"/>
                  </a:lnTo>
                  <a:lnTo>
                    <a:pt x="9" y="26"/>
                  </a:lnTo>
                  <a:lnTo>
                    <a:pt x="6" y="32"/>
                  </a:lnTo>
                  <a:lnTo>
                    <a:pt x="3" y="41"/>
                  </a:lnTo>
                  <a:lnTo>
                    <a:pt x="1" y="49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1" y="72"/>
                  </a:lnTo>
                  <a:lnTo>
                    <a:pt x="3" y="82"/>
                  </a:lnTo>
                  <a:lnTo>
                    <a:pt x="8" y="92"/>
                  </a:lnTo>
                  <a:lnTo>
                    <a:pt x="14" y="101"/>
                  </a:lnTo>
                  <a:lnTo>
                    <a:pt x="19" y="105"/>
                  </a:lnTo>
                  <a:lnTo>
                    <a:pt x="22" y="108"/>
                  </a:lnTo>
                  <a:lnTo>
                    <a:pt x="27" y="112"/>
                  </a:lnTo>
                  <a:lnTo>
                    <a:pt x="32" y="114"/>
                  </a:lnTo>
                  <a:lnTo>
                    <a:pt x="38" y="117"/>
                  </a:lnTo>
                  <a:lnTo>
                    <a:pt x="44" y="119"/>
                  </a:lnTo>
                  <a:lnTo>
                    <a:pt x="50" y="119"/>
                  </a:lnTo>
                  <a:lnTo>
                    <a:pt x="57" y="120"/>
                  </a:lnTo>
                  <a:lnTo>
                    <a:pt x="584" y="120"/>
                  </a:lnTo>
                  <a:lnTo>
                    <a:pt x="591" y="119"/>
                  </a:lnTo>
                  <a:lnTo>
                    <a:pt x="597" y="118"/>
                  </a:lnTo>
                  <a:lnTo>
                    <a:pt x="603" y="117"/>
                  </a:lnTo>
                  <a:lnTo>
                    <a:pt x="609" y="114"/>
                  </a:lnTo>
                  <a:lnTo>
                    <a:pt x="613" y="112"/>
                  </a:lnTo>
                  <a:lnTo>
                    <a:pt x="618" y="108"/>
                  </a:lnTo>
                  <a:lnTo>
                    <a:pt x="623" y="105"/>
                  </a:lnTo>
                  <a:lnTo>
                    <a:pt x="627" y="101"/>
                  </a:lnTo>
                  <a:lnTo>
                    <a:pt x="633" y="92"/>
                  </a:lnTo>
                  <a:lnTo>
                    <a:pt x="637" y="82"/>
                  </a:lnTo>
                  <a:lnTo>
                    <a:pt x="640" y="72"/>
                  </a:lnTo>
                  <a:lnTo>
                    <a:pt x="641" y="60"/>
                  </a:lnTo>
                  <a:lnTo>
                    <a:pt x="640" y="49"/>
                  </a:lnTo>
                  <a:lnTo>
                    <a:pt x="637" y="38"/>
                  </a:lnTo>
                  <a:lnTo>
                    <a:pt x="633" y="28"/>
                  </a:lnTo>
                  <a:lnTo>
                    <a:pt x="627" y="19"/>
                  </a:lnTo>
                  <a:lnTo>
                    <a:pt x="623" y="14"/>
                  </a:lnTo>
                  <a:lnTo>
                    <a:pt x="618" y="11"/>
                  </a:lnTo>
                  <a:lnTo>
                    <a:pt x="613" y="9"/>
                  </a:lnTo>
                  <a:lnTo>
                    <a:pt x="609" y="5"/>
                  </a:lnTo>
                  <a:lnTo>
                    <a:pt x="603" y="3"/>
                  </a:lnTo>
                  <a:lnTo>
                    <a:pt x="597" y="1"/>
                  </a:lnTo>
                  <a:lnTo>
                    <a:pt x="591" y="0"/>
                  </a:lnTo>
                  <a:lnTo>
                    <a:pt x="5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3050"/>
            <p:cNvSpPr>
              <a:spLocks/>
            </p:cNvSpPr>
            <p:nvPr/>
          </p:nvSpPr>
          <p:spPr bwMode="auto">
            <a:xfrm>
              <a:off x="9986963" y="1336675"/>
              <a:ext cx="66675" cy="28575"/>
            </a:xfrm>
            <a:custGeom>
              <a:avLst/>
              <a:gdLst>
                <a:gd name="T0" fmla="*/ 83 w 165"/>
                <a:gd name="T1" fmla="*/ 0 h 72"/>
                <a:gd name="T2" fmla="*/ 75 w 165"/>
                <a:gd name="T3" fmla="*/ 1 h 72"/>
                <a:gd name="T4" fmla="*/ 67 w 165"/>
                <a:gd name="T5" fmla="*/ 2 h 72"/>
                <a:gd name="T6" fmla="*/ 59 w 165"/>
                <a:gd name="T7" fmla="*/ 3 h 72"/>
                <a:gd name="T8" fmla="*/ 52 w 165"/>
                <a:gd name="T9" fmla="*/ 6 h 72"/>
                <a:gd name="T10" fmla="*/ 46 w 165"/>
                <a:gd name="T11" fmla="*/ 9 h 72"/>
                <a:gd name="T12" fmla="*/ 39 w 165"/>
                <a:gd name="T13" fmla="*/ 13 h 72"/>
                <a:gd name="T14" fmla="*/ 33 w 165"/>
                <a:gd name="T15" fmla="*/ 16 h 72"/>
                <a:gd name="T16" fmla="*/ 27 w 165"/>
                <a:gd name="T17" fmla="*/ 21 h 72"/>
                <a:gd name="T18" fmla="*/ 22 w 165"/>
                <a:gd name="T19" fmla="*/ 26 h 72"/>
                <a:gd name="T20" fmla="*/ 17 w 165"/>
                <a:gd name="T21" fmla="*/ 32 h 72"/>
                <a:gd name="T22" fmla="*/ 13 w 165"/>
                <a:gd name="T23" fmla="*/ 38 h 72"/>
                <a:gd name="T24" fmla="*/ 9 w 165"/>
                <a:gd name="T25" fmla="*/ 44 h 72"/>
                <a:gd name="T26" fmla="*/ 6 w 165"/>
                <a:gd name="T27" fmla="*/ 51 h 72"/>
                <a:gd name="T28" fmla="*/ 3 w 165"/>
                <a:gd name="T29" fmla="*/ 58 h 72"/>
                <a:gd name="T30" fmla="*/ 1 w 165"/>
                <a:gd name="T31" fmla="*/ 65 h 72"/>
                <a:gd name="T32" fmla="*/ 0 w 165"/>
                <a:gd name="T33" fmla="*/ 72 h 72"/>
                <a:gd name="T34" fmla="*/ 165 w 165"/>
                <a:gd name="T35" fmla="*/ 72 h 72"/>
                <a:gd name="T36" fmla="*/ 164 w 165"/>
                <a:gd name="T37" fmla="*/ 65 h 72"/>
                <a:gd name="T38" fmla="*/ 161 w 165"/>
                <a:gd name="T39" fmla="*/ 57 h 72"/>
                <a:gd name="T40" fmla="*/ 159 w 165"/>
                <a:gd name="T41" fmla="*/ 51 h 72"/>
                <a:gd name="T42" fmla="*/ 155 w 165"/>
                <a:gd name="T43" fmla="*/ 44 h 72"/>
                <a:gd name="T44" fmla="*/ 152 w 165"/>
                <a:gd name="T45" fmla="*/ 38 h 72"/>
                <a:gd name="T46" fmla="*/ 147 w 165"/>
                <a:gd name="T47" fmla="*/ 32 h 72"/>
                <a:gd name="T48" fmla="*/ 142 w 165"/>
                <a:gd name="T49" fmla="*/ 26 h 72"/>
                <a:gd name="T50" fmla="*/ 138 w 165"/>
                <a:gd name="T51" fmla="*/ 21 h 72"/>
                <a:gd name="T52" fmla="*/ 132 w 165"/>
                <a:gd name="T53" fmla="*/ 16 h 72"/>
                <a:gd name="T54" fmla="*/ 126 w 165"/>
                <a:gd name="T55" fmla="*/ 13 h 72"/>
                <a:gd name="T56" fmla="*/ 119 w 165"/>
                <a:gd name="T57" fmla="*/ 9 h 72"/>
                <a:gd name="T58" fmla="*/ 113 w 165"/>
                <a:gd name="T59" fmla="*/ 6 h 72"/>
                <a:gd name="T60" fmla="*/ 105 w 165"/>
                <a:gd name="T61" fmla="*/ 3 h 72"/>
                <a:gd name="T62" fmla="*/ 98 w 165"/>
                <a:gd name="T63" fmla="*/ 2 h 72"/>
                <a:gd name="T64" fmla="*/ 90 w 165"/>
                <a:gd name="T65" fmla="*/ 1 h 72"/>
                <a:gd name="T66" fmla="*/ 83 w 165"/>
                <a:gd name="T67" fmla="*/ 0 h 72"/>
                <a:gd name="T68" fmla="*/ 83 w 165"/>
                <a:gd name="T6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5" h="72">
                  <a:moveTo>
                    <a:pt x="83" y="0"/>
                  </a:moveTo>
                  <a:lnTo>
                    <a:pt x="75" y="1"/>
                  </a:lnTo>
                  <a:lnTo>
                    <a:pt x="67" y="2"/>
                  </a:lnTo>
                  <a:lnTo>
                    <a:pt x="59" y="3"/>
                  </a:lnTo>
                  <a:lnTo>
                    <a:pt x="52" y="6"/>
                  </a:lnTo>
                  <a:lnTo>
                    <a:pt x="46" y="9"/>
                  </a:lnTo>
                  <a:lnTo>
                    <a:pt x="39" y="13"/>
                  </a:lnTo>
                  <a:lnTo>
                    <a:pt x="33" y="16"/>
                  </a:lnTo>
                  <a:lnTo>
                    <a:pt x="27" y="21"/>
                  </a:lnTo>
                  <a:lnTo>
                    <a:pt x="22" y="26"/>
                  </a:lnTo>
                  <a:lnTo>
                    <a:pt x="17" y="32"/>
                  </a:lnTo>
                  <a:lnTo>
                    <a:pt x="13" y="38"/>
                  </a:lnTo>
                  <a:lnTo>
                    <a:pt x="9" y="44"/>
                  </a:lnTo>
                  <a:lnTo>
                    <a:pt x="6" y="51"/>
                  </a:lnTo>
                  <a:lnTo>
                    <a:pt x="3" y="58"/>
                  </a:lnTo>
                  <a:lnTo>
                    <a:pt x="1" y="65"/>
                  </a:lnTo>
                  <a:lnTo>
                    <a:pt x="0" y="72"/>
                  </a:lnTo>
                  <a:lnTo>
                    <a:pt x="165" y="72"/>
                  </a:lnTo>
                  <a:lnTo>
                    <a:pt x="164" y="65"/>
                  </a:lnTo>
                  <a:lnTo>
                    <a:pt x="161" y="57"/>
                  </a:lnTo>
                  <a:lnTo>
                    <a:pt x="159" y="51"/>
                  </a:lnTo>
                  <a:lnTo>
                    <a:pt x="155" y="44"/>
                  </a:lnTo>
                  <a:lnTo>
                    <a:pt x="152" y="38"/>
                  </a:lnTo>
                  <a:lnTo>
                    <a:pt x="147" y="32"/>
                  </a:lnTo>
                  <a:lnTo>
                    <a:pt x="142" y="26"/>
                  </a:lnTo>
                  <a:lnTo>
                    <a:pt x="138" y="21"/>
                  </a:lnTo>
                  <a:lnTo>
                    <a:pt x="132" y="16"/>
                  </a:lnTo>
                  <a:lnTo>
                    <a:pt x="126" y="13"/>
                  </a:lnTo>
                  <a:lnTo>
                    <a:pt x="119" y="9"/>
                  </a:lnTo>
                  <a:lnTo>
                    <a:pt x="113" y="6"/>
                  </a:lnTo>
                  <a:lnTo>
                    <a:pt x="105" y="3"/>
                  </a:lnTo>
                  <a:lnTo>
                    <a:pt x="98" y="2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3051"/>
            <p:cNvSpPr>
              <a:spLocks/>
            </p:cNvSpPr>
            <p:nvPr/>
          </p:nvSpPr>
          <p:spPr bwMode="auto">
            <a:xfrm>
              <a:off x="9986963" y="1374775"/>
              <a:ext cx="66675" cy="52388"/>
            </a:xfrm>
            <a:custGeom>
              <a:avLst/>
              <a:gdLst>
                <a:gd name="T0" fmla="*/ 71 w 165"/>
                <a:gd name="T1" fmla="*/ 71 h 132"/>
                <a:gd name="T2" fmla="*/ 71 w 165"/>
                <a:gd name="T3" fmla="*/ 120 h 132"/>
                <a:gd name="T4" fmla="*/ 71 w 165"/>
                <a:gd name="T5" fmla="*/ 124 h 132"/>
                <a:gd name="T6" fmla="*/ 73 w 165"/>
                <a:gd name="T7" fmla="*/ 127 h 132"/>
                <a:gd name="T8" fmla="*/ 77 w 165"/>
                <a:gd name="T9" fmla="*/ 130 h 132"/>
                <a:gd name="T10" fmla="*/ 80 w 165"/>
                <a:gd name="T11" fmla="*/ 132 h 132"/>
                <a:gd name="T12" fmla="*/ 82 w 165"/>
                <a:gd name="T13" fmla="*/ 131 h 132"/>
                <a:gd name="T14" fmla="*/ 83 w 165"/>
                <a:gd name="T15" fmla="*/ 132 h 132"/>
                <a:gd name="T16" fmla="*/ 83 w 165"/>
                <a:gd name="T17" fmla="*/ 131 h 132"/>
                <a:gd name="T18" fmla="*/ 84 w 165"/>
                <a:gd name="T19" fmla="*/ 132 h 132"/>
                <a:gd name="T20" fmla="*/ 88 w 165"/>
                <a:gd name="T21" fmla="*/ 130 h 132"/>
                <a:gd name="T22" fmla="*/ 91 w 165"/>
                <a:gd name="T23" fmla="*/ 127 h 132"/>
                <a:gd name="T24" fmla="*/ 94 w 165"/>
                <a:gd name="T25" fmla="*/ 124 h 132"/>
                <a:gd name="T26" fmla="*/ 95 w 165"/>
                <a:gd name="T27" fmla="*/ 120 h 132"/>
                <a:gd name="T28" fmla="*/ 95 w 165"/>
                <a:gd name="T29" fmla="*/ 71 h 132"/>
                <a:gd name="T30" fmla="*/ 108 w 165"/>
                <a:gd name="T31" fmla="*/ 68 h 132"/>
                <a:gd name="T32" fmla="*/ 120 w 165"/>
                <a:gd name="T33" fmla="*/ 63 h 132"/>
                <a:gd name="T34" fmla="*/ 132 w 165"/>
                <a:gd name="T35" fmla="*/ 56 h 132"/>
                <a:gd name="T36" fmla="*/ 141 w 165"/>
                <a:gd name="T37" fmla="*/ 48 h 132"/>
                <a:gd name="T38" fmla="*/ 151 w 165"/>
                <a:gd name="T39" fmla="*/ 37 h 132"/>
                <a:gd name="T40" fmla="*/ 157 w 165"/>
                <a:gd name="T41" fmla="*/ 26 h 132"/>
                <a:gd name="T42" fmla="*/ 163 w 165"/>
                <a:gd name="T43" fmla="*/ 13 h 132"/>
                <a:gd name="T44" fmla="*/ 165 w 165"/>
                <a:gd name="T45" fmla="*/ 0 h 132"/>
                <a:gd name="T46" fmla="*/ 0 w 165"/>
                <a:gd name="T47" fmla="*/ 0 h 132"/>
                <a:gd name="T48" fmla="*/ 2 w 165"/>
                <a:gd name="T49" fmla="*/ 13 h 132"/>
                <a:gd name="T50" fmla="*/ 8 w 165"/>
                <a:gd name="T51" fmla="*/ 26 h 132"/>
                <a:gd name="T52" fmla="*/ 15 w 165"/>
                <a:gd name="T53" fmla="*/ 37 h 132"/>
                <a:gd name="T54" fmla="*/ 23 w 165"/>
                <a:gd name="T55" fmla="*/ 48 h 132"/>
                <a:gd name="T56" fmla="*/ 33 w 165"/>
                <a:gd name="T57" fmla="*/ 56 h 132"/>
                <a:gd name="T58" fmla="*/ 45 w 165"/>
                <a:gd name="T59" fmla="*/ 63 h 132"/>
                <a:gd name="T60" fmla="*/ 57 w 165"/>
                <a:gd name="T61" fmla="*/ 68 h 132"/>
                <a:gd name="T62" fmla="*/ 71 w 165"/>
                <a:gd name="T63" fmla="*/ 7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5" h="132">
                  <a:moveTo>
                    <a:pt x="71" y="71"/>
                  </a:moveTo>
                  <a:lnTo>
                    <a:pt x="71" y="120"/>
                  </a:lnTo>
                  <a:lnTo>
                    <a:pt x="71" y="124"/>
                  </a:lnTo>
                  <a:lnTo>
                    <a:pt x="73" y="127"/>
                  </a:lnTo>
                  <a:lnTo>
                    <a:pt x="77" y="130"/>
                  </a:lnTo>
                  <a:lnTo>
                    <a:pt x="80" y="132"/>
                  </a:lnTo>
                  <a:lnTo>
                    <a:pt x="82" y="131"/>
                  </a:lnTo>
                  <a:lnTo>
                    <a:pt x="83" y="132"/>
                  </a:lnTo>
                  <a:lnTo>
                    <a:pt x="83" y="131"/>
                  </a:lnTo>
                  <a:lnTo>
                    <a:pt x="84" y="132"/>
                  </a:lnTo>
                  <a:lnTo>
                    <a:pt x="88" y="130"/>
                  </a:lnTo>
                  <a:lnTo>
                    <a:pt x="91" y="127"/>
                  </a:lnTo>
                  <a:lnTo>
                    <a:pt x="94" y="124"/>
                  </a:lnTo>
                  <a:lnTo>
                    <a:pt x="95" y="120"/>
                  </a:lnTo>
                  <a:lnTo>
                    <a:pt x="95" y="71"/>
                  </a:lnTo>
                  <a:lnTo>
                    <a:pt x="108" y="68"/>
                  </a:lnTo>
                  <a:lnTo>
                    <a:pt x="120" y="63"/>
                  </a:lnTo>
                  <a:lnTo>
                    <a:pt x="132" y="56"/>
                  </a:lnTo>
                  <a:lnTo>
                    <a:pt x="141" y="48"/>
                  </a:lnTo>
                  <a:lnTo>
                    <a:pt x="151" y="37"/>
                  </a:lnTo>
                  <a:lnTo>
                    <a:pt x="157" y="26"/>
                  </a:lnTo>
                  <a:lnTo>
                    <a:pt x="163" y="13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2" y="13"/>
                  </a:lnTo>
                  <a:lnTo>
                    <a:pt x="8" y="26"/>
                  </a:lnTo>
                  <a:lnTo>
                    <a:pt x="15" y="37"/>
                  </a:lnTo>
                  <a:lnTo>
                    <a:pt x="23" y="48"/>
                  </a:lnTo>
                  <a:lnTo>
                    <a:pt x="33" y="56"/>
                  </a:lnTo>
                  <a:lnTo>
                    <a:pt x="45" y="63"/>
                  </a:lnTo>
                  <a:lnTo>
                    <a:pt x="57" y="68"/>
                  </a:lnTo>
                  <a:lnTo>
                    <a:pt x="71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3052"/>
            <p:cNvSpPr>
              <a:spLocks/>
            </p:cNvSpPr>
            <p:nvPr/>
          </p:nvSpPr>
          <p:spPr bwMode="auto">
            <a:xfrm>
              <a:off x="9882188" y="1427163"/>
              <a:ext cx="276225" cy="138113"/>
            </a:xfrm>
            <a:custGeom>
              <a:avLst/>
              <a:gdLst>
                <a:gd name="T0" fmla="*/ 601 w 694"/>
                <a:gd name="T1" fmla="*/ 347 h 347"/>
                <a:gd name="T2" fmla="*/ 625 w 694"/>
                <a:gd name="T3" fmla="*/ 331 h 347"/>
                <a:gd name="T4" fmla="*/ 651 w 694"/>
                <a:gd name="T5" fmla="*/ 306 h 347"/>
                <a:gd name="T6" fmla="*/ 670 w 694"/>
                <a:gd name="T7" fmla="*/ 277 h 347"/>
                <a:gd name="T8" fmla="*/ 685 w 694"/>
                <a:gd name="T9" fmla="*/ 248 h 347"/>
                <a:gd name="T10" fmla="*/ 692 w 694"/>
                <a:gd name="T11" fmla="*/ 214 h 347"/>
                <a:gd name="T12" fmla="*/ 693 w 694"/>
                <a:gd name="T13" fmla="*/ 171 h 347"/>
                <a:gd name="T14" fmla="*/ 680 w 694"/>
                <a:gd name="T15" fmla="*/ 114 h 347"/>
                <a:gd name="T16" fmla="*/ 654 w 694"/>
                <a:gd name="T17" fmla="*/ 68 h 347"/>
                <a:gd name="T18" fmla="*/ 617 w 694"/>
                <a:gd name="T19" fmla="*/ 31 h 347"/>
                <a:gd name="T20" fmla="*/ 569 w 694"/>
                <a:gd name="T21" fmla="*/ 8 h 347"/>
                <a:gd name="T22" fmla="*/ 515 w 694"/>
                <a:gd name="T23" fmla="*/ 0 h 347"/>
                <a:gd name="T24" fmla="*/ 485 w 694"/>
                <a:gd name="T25" fmla="*/ 2 h 347"/>
                <a:gd name="T26" fmla="*/ 436 w 694"/>
                <a:gd name="T27" fmla="*/ 19 h 347"/>
                <a:gd name="T28" fmla="*/ 468 w 694"/>
                <a:gd name="T29" fmla="*/ 39 h 347"/>
                <a:gd name="T30" fmla="*/ 497 w 694"/>
                <a:gd name="T31" fmla="*/ 66 h 347"/>
                <a:gd name="T32" fmla="*/ 518 w 694"/>
                <a:gd name="T33" fmla="*/ 98 h 347"/>
                <a:gd name="T34" fmla="*/ 532 w 694"/>
                <a:gd name="T35" fmla="*/ 135 h 347"/>
                <a:gd name="T36" fmla="*/ 540 w 694"/>
                <a:gd name="T37" fmla="*/ 175 h 347"/>
                <a:gd name="T38" fmla="*/ 537 w 694"/>
                <a:gd name="T39" fmla="*/ 223 h 347"/>
                <a:gd name="T40" fmla="*/ 526 w 694"/>
                <a:gd name="T41" fmla="*/ 258 h 347"/>
                <a:gd name="T42" fmla="*/ 517 w 694"/>
                <a:gd name="T43" fmla="*/ 263 h 347"/>
                <a:gd name="T44" fmla="*/ 509 w 694"/>
                <a:gd name="T45" fmla="*/ 259 h 347"/>
                <a:gd name="T46" fmla="*/ 506 w 694"/>
                <a:gd name="T47" fmla="*/ 246 h 347"/>
                <a:gd name="T48" fmla="*/ 515 w 694"/>
                <a:gd name="T49" fmla="*/ 203 h 347"/>
                <a:gd name="T50" fmla="*/ 512 w 694"/>
                <a:gd name="T51" fmla="*/ 155 h 347"/>
                <a:gd name="T52" fmla="*/ 497 w 694"/>
                <a:gd name="T53" fmla="*/ 108 h 347"/>
                <a:gd name="T54" fmla="*/ 468 w 694"/>
                <a:gd name="T55" fmla="*/ 70 h 347"/>
                <a:gd name="T56" fmla="*/ 429 w 694"/>
                <a:gd name="T57" fmla="*/ 43 h 347"/>
                <a:gd name="T58" fmla="*/ 383 w 694"/>
                <a:gd name="T59" fmla="*/ 26 h 347"/>
                <a:gd name="T60" fmla="*/ 329 w 694"/>
                <a:gd name="T61" fmla="*/ 24 h 347"/>
                <a:gd name="T62" fmla="*/ 280 w 694"/>
                <a:gd name="T63" fmla="*/ 36 h 347"/>
                <a:gd name="T64" fmla="*/ 239 w 694"/>
                <a:gd name="T65" fmla="*/ 61 h 347"/>
                <a:gd name="T66" fmla="*/ 205 w 694"/>
                <a:gd name="T67" fmla="*/ 96 h 347"/>
                <a:gd name="T68" fmla="*/ 185 w 694"/>
                <a:gd name="T69" fmla="*/ 139 h 347"/>
                <a:gd name="T70" fmla="*/ 177 w 694"/>
                <a:gd name="T71" fmla="*/ 189 h 347"/>
                <a:gd name="T72" fmla="*/ 183 w 694"/>
                <a:gd name="T73" fmla="*/ 232 h 347"/>
                <a:gd name="T74" fmla="*/ 186 w 694"/>
                <a:gd name="T75" fmla="*/ 255 h 347"/>
                <a:gd name="T76" fmla="*/ 174 w 694"/>
                <a:gd name="T77" fmla="*/ 262 h 347"/>
                <a:gd name="T78" fmla="*/ 164 w 694"/>
                <a:gd name="T79" fmla="*/ 253 h 347"/>
                <a:gd name="T80" fmla="*/ 154 w 694"/>
                <a:gd name="T81" fmla="*/ 206 h 347"/>
                <a:gd name="T82" fmla="*/ 155 w 694"/>
                <a:gd name="T83" fmla="*/ 162 h 347"/>
                <a:gd name="T84" fmla="*/ 165 w 694"/>
                <a:gd name="T85" fmla="*/ 124 h 347"/>
                <a:gd name="T86" fmla="*/ 182 w 694"/>
                <a:gd name="T87" fmla="*/ 88 h 347"/>
                <a:gd name="T88" fmla="*/ 207 w 694"/>
                <a:gd name="T89" fmla="*/ 58 h 347"/>
                <a:gd name="T90" fmla="*/ 235 w 694"/>
                <a:gd name="T91" fmla="*/ 33 h 347"/>
                <a:gd name="T92" fmla="*/ 242 w 694"/>
                <a:gd name="T93" fmla="*/ 13 h 347"/>
                <a:gd name="T94" fmla="*/ 202 w 694"/>
                <a:gd name="T95" fmla="*/ 1 h 347"/>
                <a:gd name="T96" fmla="*/ 160 w 694"/>
                <a:gd name="T97" fmla="*/ 1 h 347"/>
                <a:gd name="T98" fmla="*/ 107 w 694"/>
                <a:gd name="T99" fmla="*/ 14 h 347"/>
                <a:gd name="T100" fmla="*/ 63 w 694"/>
                <a:gd name="T101" fmla="*/ 42 h 347"/>
                <a:gd name="T102" fmla="*/ 28 w 694"/>
                <a:gd name="T103" fmla="*/ 82 h 347"/>
                <a:gd name="T104" fmla="*/ 7 w 694"/>
                <a:gd name="T105" fmla="*/ 132 h 347"/>
                <a:gd name="T106" fmla="*/ 0 w 694"/>
                <a:gd name="T107" fmla="*/ 192 h 347"/>
                <a:gd name="T108" fmla="*/ 2 w 694"/>
                <a:gd name="T109" fmla="*/ 225 h 347"/>
                <a:gd name="T110" fmla="*/ 13 w 694"/>
                <a:gd name="T111" fmla="*/ 256 h 347"/>
                <a:gd name="T112" fmla="*/ 28 w 694"/>
                <a:gd name="T113" fmla="*/ 286 h 347"/>
                <a:gd name="T114" fmla="*/ 49 w 694"/>
                <a:gd name="T115" fmla="*/ 313 h 347"/>
                <a:gd name="T116" fmla="*/ 78 w 694"/>
                <a:gd name="T117" fmla="*/ 33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4" h="347">
                  <a:moveTo>
                    <a:pt x="88" y="345"/>
                  </a:moveTo>
                  <a:lnTo>
                    <a:pt x="91" y="347"/>
                  </a:lnTo>
                  <a:lnTo>
                    <a:pt x="601" y="347"/>
                  </a:lnTo>
                  <a:lnTo>
                    <a:pt x="605" y="345"/>
                  </a:lnTo>
                  <a:lnTo>
                    <a:pt x="615" y="338"/>
                  </a:lnTo>
                  <a:lnTo>
                    <a:pt x="625" y="331"/>
                  </a:lnTo>
                  <a:lnTo>
                    <a:pt x="635" y="322"/>
                  </a:lnTo>
                  <a:lnTo>
                    <a:pt x="643" y="314"/>
                  </a:lnTo>
                  <a:lnTo>
                    <a:pt x="651" y="306"/>
                  </a:lnTo>
                  <a:lnTo>
                    <a:pt x="659" y="296"/>
                  </a:lnTo>
                  <a:lnTo>
                    <a:pt x="664" y="288"/>
                  </a:lnTo>
                  <a:lnTo>
                    <a:pt x="670" y="277"/>
                  </a:lnTo>
                  <a:lnTo>
                    <a:pt x="676" y="268"/>
                  </a:lnTo>
                  <a:lnTo>
                    <a:pt x="681" y="258"/>
                  </a:lnTo>
                  <a:lnTo>
                    <a:pt x="685" y="248"/>
                  </a:lnTo>
                  <a:lnTo>
                    <a:pt x="688" y="237"/>
                  </a:lnTo>
                  <a:lnTo>
                    <a:pt x="691" y="226"/>
                  </a:lnTo>
                  <a:lnTo>
                    <a:pt x="692" y="214"/>
                  </a:lnTo>
                  <a:lnTo>
                    <a:pt x="693" y="203"/>
                  </a:lnTo>
                  <a:lnTo>
                    <a:pt x="694" y="192"/>
                  </a:lnTo>
                  <a:lnTo>
                    <a:pt x="693" y="171"/>
                  </a:lnTo>
                  <a:lnTo>
                    <a:pt x="691" y="151"/>
                  </a:lnTo>
                  <a:lnTo>
                    <a:pt x="686" y="132"/>
                  </a:lnTo>
                  <a:lnTo>
                    <a:pt x="680" y="114"/>
                  </a:lnTo>
                  <a:lnTo>
                    <a:pt x="673" y="98"/>
                  </a:lnTo>
                  <a:lnTo>
                    <a:pt x="664" y="82"/>
                  </a:lnTo>
                  <a:lnTo>
                    <a:pt x="654" y="68"/>
                  </a:lnTo>
                  <a:lnTo>
                    <a:pt x="643" y="54"/>
                  </a:lnTo>
                  <a:lnTo>
                    <a:pt x="630" y="42"/>
                  </a:lnTo>
                  <a:lnTo>
                    <a:pt x="617" y="31"/>
                  </a:lnTo>
                  <a:lnTo>
                    <a:pt x="601" y="22"/>
                  </a:lnTo>
                  <a:lnTo>
                    <a:pt x="586" y="14"/>
                  </a:lnTo>
                  <a:lnTo>
                    <a:pt x="569" y="8"/>
                  </a:lnTo>
                  <a:lnTo>
                    <a:pt x="551" y="4"/>
                  </a:lnTo>
                  <a:lnTo>
                    <a:pt x="534" y="1"/>
                  </a:lnTo>
                  <a:lnTo>
                    <a:pt x="515" y="0"/>
                  </a:lnTo>
                  <a:lnTo>
                    <a:pt x="504" y="0"/>
                  </a:lnTo>
                  <a:lnTo>
                    <a:pt x="494" y="1"/>
                  </a:lnTo>
                  <a:lnTo>
                    <a:pt x="485" y="2"/>
                  </a:lnTo>
                  <a:lnTo>
                    <a:pt x="475" y="5"/>
                  </a:lnTo>
                  <a:lnTo>
                    <a:pt x="455" y="11"/>
                  </a:lnTo>
                  <a:lnTo>
                    <a:pt x="436" y="19"/>
                  </a:lnTo>
                  <a:lnTo>
                    <a:pt x="447" y="25"/>
                  </a:lnTo>
                  <a:lnTo>
                    <a:pt x="459" y="32"/>
                  </a:lnTo>
                  <a:lnTo>
                    <a:pt x="468" y="39"/>
                  </a:lnTo>
                  <a:lnTo>
                    <a:pt x="479" y="48"/>
                  </a:lnTo>
                  <a:lnTo>
                    <a:pt x="487" y="56"/>
                  </a:lnTo>
                  <a:lnTo>
                    <a:pt x="497" y="66"/>
                  </a:lnTo>
                  <a:lnTo>
                    <a:pt x="504" y="75"/>
                  </a:lnTo>
                  <a:lnTo>
                    <a:pt x="511" y="86"/>
                  </a:lnTo>
                  <a:lnTo>
                    <a:pt x="518" y="98"/>
                  </a:lnTo>
                  <a:lnTo>
                    <a:pt x="523" y="110"/>
                  </a:lnTo>
                  <a:lnTo>
                    <a:pt x="528" y="121"/>
                  </a:lnTo>
                  <a:lnTo>
                    <a:pt x="532" y="135"/>
                  </a:lnTo>
                  <a:lnTo>
                    <a:pt x="536" y="148"/>
                  </a:lnTo>
                  <a:lnTo>
                    <a:pt x="537" y="161"/>
                  </a:lnTo>
                  <a:lnTo>
                    <a:pt x="540" y="175"/>
                  </a:lnTo>
                  <a:lnTo>
                    <a:pt x="540" y="189"/>
                  </a:lnTo>
                  <a:lnTo>
                    <a:pt x="538" y="206"/>
                  </a:lnTo>
                  <a:lnTo>
                    <a:pt x="537" y="223"/>
                  </a:lnTo>
                  <a:lnTo>
                    <a:pt x="534" y="239"/>
                  </a:lnTo>
                  <a:lnTo>
                    <a:pt x="528" y="255"/>
                  </a:lnTo>
                  <a:lnTo>
                    <a:pt x="526" y="258"/>
                  </a:lnTo>
                  <a:lnTo>
                    <a:pt x="524" y="261"/>
                  </a:lnTo>
                  <a:lnTo>
                    <a:pt x="521" y="262"/>
                  </a:lnTo>
                  <a:lnTo>
                    <a:pt x="517" y="263"/>
                  </a:lnTo>
                  <a:lnTo>
                    <a:pt x="515" y="263"/>
                  </a:lnTo>
                  <a:lnTo>
                    <a:pt x="513" y="262"/>
                  </a:lnTo>
                  <a:lnTo>
                    <a:pt x="509" y="259"/>
                  </a:lnTo>
                  <a:lnTo>
                    <a:pt x="506" y="256"/>
                  </a:lnTo>
                  <a:lnTo>
                    <a:pt x="505" y="251"/>
                  </a:lnTo>
                  <a:lnTo>
                    <a:pt x="506" y="246"/>
                  </a:lnTo>
                  <a:lnTo>
                    <a:pt x="510" y="233"/>
                  </a:lnTo>
                  <a:lnTo>
                    <a:pt x="513" y="219"/>
                  </a:lnTo>
                  <a:lnTo>
                    <a:pt x="515" y="203"/>
                  </a:lnTo>
                  <a:lnTo>
                    <a:pt x="516" y="189"/>
                  </a:lnTo>
                  <a:lnTo>
                    <a:pt x="515" y="171"/>
                  </a:lnTo>
                  <a:lnTo>
                    <a:pt x="512" y="155"/>
                  </a:lnTo>
                  <a:lnTo>
                    <a:pt x="509" y="138"/>
                  </a:lnTo>
                  <a:lnTo>
                    <a:pt x="503" y="123"/>
                  </a:lnTo>
                  <a:lnTo>
                    <a:pt x="497" y="108"/>
                  </a:lnTo>
                  <a:lnTo>
                    <a:pt x="488" y="94"/>
                  </a:lnTo>
                  <a:lnTo>
                    <a:pt x="479" y="82"/>
                  </a:lnTo>
                  <a:lnTo>
                    <a:pt x="468" y="70"/>
                  </a:lnTo>
                  <a:lnTo>
                    <a:pt x="456" y="60"/>
                  </a:lnTo>
                  <a:lnTo>
                    <a:pt x="443" y="50"/>
                  </a:lnTo>
                  <a:lnTo>
                    <a:pt x="429" y="43"/>
                  </a:lnTo>
                  <a:lnTo>
                    <a:pt x="415" y="36"/>
                  </a:lnTo>
                  <a:lnTo>
                    <a:pt x="398" y="31"/>
                  </a:lnTo>
                  <a:lnTo>
                    <a:pt x="383" y="26"/>
                  </a:lnTo>
                  <a:lnTo>
                    <a:pt x="365" y="24"/>
                  </a:lnTo>
                  <a:lnTo>
                    <a:pt x="347" y="24"/>
                  </a:lnTo>
                  <a:lnTo>
                    <a:pt x="329" y="24"/>
                  </a:lnTo>
                  <a:lnTo>
                    <a:pt x="312" y="26"/>
                  </a:lnTo>
                  <a:lnTo>
                    <a:pt x="296" y="31"/>
                  </a:lnTo>
                  <a:lnTo>
                    <a:pt x="280" y="36"/>
                  </a:lnTo>
                  <a:lnTo>
                    <a:pt x="265" y="43"/>
                  </a:lnTo>
                  <a:lnTo>
                    <a:pt x="252" y="51"/>
                  </a:lnTo>
                  <a:lnTo>
                    <a:pt x="239" y="61"/>
                  </a:lnTo>
                  <a:lnTo>
                    <a:pt x="227" y="71"/>
                  </a:lnTo>
                  <a:lnTo>
                    <a:pt x="215" y="83"/>
                  </a:lnTo>
                  <a:lnTo>
                    <a:pt x="205" y="96"/>
                  </a:lnTo>
                  <a:lnTo>
                    <a:pt x="197" y="110"/>
                  </a:lnTo>
                  <a:lnTo>
                    <a:pt x="190" y="124"/>
                  </a:lnTo>
                  <a:lnTo>
                    <a:pt x="185" y="139"/>
                  </a:lnTo>
                  <a:lnTo>
                    <a:pt x="180" y="156"/>
                  </a:lnTo>
                  <a:lnTo>
                    <a:pt x="178" y="173"/>
                  </a:lnTo>
                  <a:lnTo>
                    <a:pt x="177" y="189"/>
                  </a:lnTo>
                  <a:lnTo>
                    <a:pt x="178" y="203"/>
                  </a:lnTo>
                  <a:lnTo>
                    <a:pt x="179" y="218"/>
                  </a:lnTo>
                  <a:lnTo>
                    <a:pt x="183" y="232"/>
                  </a:lnTo>
                  <a:lnTo>
                    <a:pt x="186" y="245"/>
                  </a:lnTo>
                  <a:lnTo>
                    <a:pt x="187" y="250"/>
                  </a:lnTo>
                  <a:lnTo>
                    <a:pt x="186" y="255"/>
                  </a:lnTo>
                  <a:lnTo>
                    <a:pt x="184" y="258"/>
                  </a:lnTo>
                  <a:lnTo>
                    <a:pt x="179" y="261"/>
                  </a:lnTo>
                  <a:lnTo>
                    <a:pt x="174" y="262"/>
                  </a:lnTo>
                  <a:lnTo>
                    <a:pt x="170" y="261"/>
                  </a:lnTo>
                  <a:lnTo>
                    <a:pt x="166" y="257"/>
                  </a:lnTo>
                  <a:lnTo>
                    <a:pt x="164" y="253"/>
                  </a:lnTo>
                  <a:lnTo>
                    <a:pt x="159" y="238"/>
                  </a:lnTo>
                  <a:lnTo>
                    <a:pt x="155" y="223"/>
                  </a:lnTo>
                  <a:lnTo>
                    <a:pt x="154" y="206"/>
                  </a:lnTo>
                  <a:lnTo>
                    <a:pt x="153" y="189"/>
                  </a:lnTo>
                  <a:lnTo>
                    <a:pt x="154" y="176"/>
                  </a:lnTo>
                  <a:lnTo>
                    <a:pt x="155" y="162"/>
                  </a:lnTo>
                  <a:lnTo>
                    <a:pt x="158" y="149"/>
                  </a:lnTo>
                  <a:lnTo>
                    <a:pt x="161" y="136"/>
                  </a:lnTo>
                  <a:lnTo>
                    <a:pt x="165" y="124"/>
                  </a:lnTo>
                  <a:lnTo>
                    <a:pt x="170" y="111"/>
                  </a:lnTo>
                  <a:lnTo>
                    <a:pt x="176" y="100"/>
                  </a:lnTo>
                  <a:lnTo>
                    <a:pt x="182" y="88"/>
                  </a:lnTo>
                  <a:lnTo>
                    <a:pt x="190" y="77"/>
                  </a:lnTo>
                  <a:lnTo>
                    <a:pt x="197" y="68"/>
                  </a:lnTo>
                  <a:lnTo>
                    <a:pt x="207" y="58"/>
                  </a:lnTo>
                  <a:lnTo>
                    <a:pt x="215" y="49"/>
                  </a:lnTo>
                  <a:lnTo>
                    <a:pt x="226" y="41"/>
                  </a:lnTo>
                  <a:lnTo>
                    <a:pt x="235" y="33"/>
                  </a:lnTo>
                  <a:lnTo>
                    <a:pt x="247" y="26"/>
                  </a:lnTo>
                  <a:lnTo>
                    <a:pt x="258" y="20"/>
                  </a:lnTo>
                  <a:lnTo>
                    <a:pt x="242" y="13"/>
                  </a:lnTo>
                  <a:lnTo>
                    <a:pt x="223" y="6"/>
                  </a:lnTo>
                  <a:lnTo>
                    <a:pt x="212" y="4"/>
                  </a:lnTo>
                  <a:lnTo>
                    <a:pt x="202" y="1"/>
                  </a:lnTo>
                  <a:lnTo>
                    <a:pt x="191" y="0"/>
                  </a:lnTo>
                  <a:lnTo>
                    <a:pt x="179" y="0"/>
                  </a:lnTo>
                  <a:lnTo>
                    <a:pt x="160" y="1"/>
                  </a:lnTo>
                  <a:lnTo>
                    <a:pt x="141" y="4"/>
                  </a:lnTo>
                  <a:lnTo>
                    <a:pt x="123" y="8"/>
                  </a:lnTo>
                  <a:lnTo>
                    <a:pt x="107" y="14"/>
                  </a:lnTo>
                  <a:lnTo>
                    <a:pt x="91" y="22"/>
                  </a:lnTo>
                  <a:lnTo>
                    <a:pt x="76" y="31"/>
                  </a:lnTo>
                  <a:lnTo>
                    <a:pt x="63" y="42"/>
                  </a:lnTo>
                  <a:lnTo>
                    <a:pt x="49" y="54"/>
                  </a:lnTo>
                  <a:lnTo>
                    <a:pt x="39" y="68"/>
                  </a:lnTo>
                  <a:lnTo>
                    <a:pt x="28" y="82"/>
                  </a:lnTo>
                  <a:lnTo>
                    <a:pt x="20" y="98"/>
                  </a:lnTo>
                  <a:lnTo>
                    <a:pt x="13" y="114"/>
                  </a:lnTo>
                  <a:lnTo>
                    <a:pt x="7" y="132"/>
                  </a:lnTo>
                  <a:lnTo>
                    <a:pt x="3" y="151"/>
                  </a:lnTo>
                  <a:lnTo>
                    <a:pt x="0" y="171"/>
                  </a:lnTo>
                  <a:lnTo>
                    <a:pt x="0" y="192"/>
                  </a:lnTo>
                  <a:lnTo>
                    <a:pt x="0" y="202"/>
                  </a:lnTo>
                  <a:lnTo>
                    <a:pt x="1" y="213"/>
                  </a:lnTo>
                  <a:lnTo>
                    <a:pt x="2" y="225"/>
                  </a:lnTo>
                  <a:lnTo>
                    <a:pt x="5" y="236"/>
                  </a:lnTo>
                  <a:lnTo>
                    <a:pt x="8" y="245"/>
                  </a:lnTo>
                  <a:lnTo>
                    <a:pt x="13" y="256"/>
                  </a:lnTo>
                  <a:lnTo>
                    <a:pt x="16" y="267"/>
                  </a:lnTo>
                  <a:lnTo>
                    <a:pt x="22" y="276"/>
                  </a:lnTo>
                  <a:lnTo>
                    <a:pt x="28" y="286"/>
                  </a:lnTo>
                  <a:lnTo>
                    <a:pt x="35" y="295"/>
                  </a:lnTo>
                  <a:lnTo>
                    <a:pt x="42" y="305"/>
                  </a:lnTo>
                  <a:lnTo>
                    <a:pt x="49" y="313"/>
                  </a:lnTo>
                  <a:lnTo>
                    <a:pt x="59" y="321"/>
                  </a:lnTo>
                  <a:lnTo>
                    <a:pt x="67" y="330"/>
                  </a:lnTo>
                  <a:lnTo>
                    <a:pt x="78" y="338"/>
                  </a:lnTo>
                  <a:lnTo>
                    <a:pt x="88" y="345"/>
                  </a:lnTo>
                  <a:lnTo>
                    <a:pt x="88" y="3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4" name="Group 213"/>
          <p:cNvGrpSpPr/>
          <p:nvPr/>
        </p:nvGrpSpPr>
        <p:grpSpPr>
          <a:xfrm>
            <a:off x="6559629" y="4596860"/>
            <a:ext cx="175406" cy="187934"/>
            <a:chOff x="10464800" y="1382713"/>
            <a:chExt cx="266701" cy="285750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5" name="Freeform 4133"/>
            <p:cNvSpPr>
              <a:spLocks noEditPoints="1"/>
            </p:cNvSpPr>
            <p:nvPr/>
          </p:nvSpPr>
          <p:spPr bwMode="auto">
            <a:xfrm>
              <a:off x="10464800" y="1487488"/>
              <a:ext cx="230188" cy="180975"/>
            </a:xfrm>
            <a:custGeom>
              <a:avLst/>
              <a:gdLst>
                <a:gd name="T0" fmla="*/ 210 w 721"/>
                <a:gd name="T1" fmla="*/ 420 h 570"/>
                <a:gd name="T2" fmla="*/ 511 w 721"/>
                <a:gd name="T3" fmla="*/ 150 h 570"/>
                <a:gd name="T4" fmla="*/ 706 w 721"/>
                <a:gd name="T5" fmla="*/ 0 h 570"/>
                <a:gd name="T6" fmla="*/ 556 w 721"/>
                <a:gd name="T7" fmla="*/ 60 h 570"/>
                <a:gd name="T8" fmla="*/ 554 w 721"/>
                <a:gd name="T9" fmla="*/ 72 h 570"/>
                <a:gd name="T10" fmla="*/ 547 w 721"/>
                <a:gd name="T11" fmla="*/ 80 h 570"/>
                <a:gd name="T12" fmla="*/ 538 w 721"/>
                <a:gd name="T13" fmla="*/ 88 h 570"/>
                <a:gd name="T14" fmla="*/ 526 w 721"/>
                <a:gd name="T15" fmla="*/ 90 h 570"/>
                <a:gd name="T16" fmla="*/ 514 w 721"/>
                <a:gd name="T17" fmla="*/ 87 h 570"/>
                <a:gd name="T18" fmla="*/ 505 w 721"/>
                <a:gd name="T19" fmla="*/ 80 h 570"/>
                <a:gd name="T20" fmla="*/ 498 w 721"/>
                <a:gd name="T21" fmla="*/ 72 h 570"/>
                <a:gd name="T22" fmla="*/ 496 w 721"/>
                <a:gd name="T23" fmla="*/ 60 h 570"/>
                <a:gd name="T24" fmla="*/ 225 w 721"/>
                <a:gd name="T25" fmla="*/ 0 h 570"/>
                <a:gd name="T26" fmla="*/ 225 w 721"/>
                <a:gd name="T27" fmla="*/ 65 h 570"/>
                <a:gd name="T28" fmla="*/ 221 w 721"/>
                <a:gd name="T29" fmla="*/ 76 h 570"/>
                <a:gd name="T30" fmla="*/ 212 w 721"/>
                <a:gd name="T31" fmla="*/ 85 h 570"/>
                <a:gd name="T32" fmla="*/ 201 w 721"/>
                <a:gd name="T33" fmla="*/ 89 h 570"/>
                <a:gd name="T34" fmla="*/ 189 w 721"/>
                <a:gd name="T35" fmla="*/ 89 h 570"/>
                <a:gd name="T36" fmla="*/ 179 w 721"/>
                <a:gd name="T37" fmla="*/ 85 h 570"/>
                <a:gd name="T38" fmla="*/ 170 w 721"/>
                <a:gd name="T39" fmla="*/ 76 h 570"/>
                <a:gd name="T40" fmla="*/ 166 w 721"/>
                <a:gd name="T41" fmla="*/ 65 h 570"/>
                <a:gd name="T42" fmla="*/ 165 w 721"/>
                <a:gd name="T43" fmla="*/ 0 h 570"/>
                <a:gd name="T44" fmla="*/ 11 w 721"/>
                <a:gd name="T45" fmla="*/ 0 h 570"/>
                <a:gd name="T46" fmla="*/ 6 w 721"/>
                <a:gd name="T47" fmla="*/ 2 h 570"/>
                <a:gd name="T48" fmla="*/ 3 w 721"/>
                <a:gd name="T49" fmla="*/ 6 h 570"/>
                <a:gd name="T50" fmla="*/ 0 w 721"/>
                <a:gd name="T51" fmla="*/ 12 h 570"/>
                <a:gd name="T52" fmla="*/ 0 w 721"/>
                <a:gd name="T53" fmla="*/ 555 h 570"/>
                <a:gd name="T54" fmla="*/ 1 w 721"/>
                <a:gd name="T55" fmla="*/ 562 h 570"/>
                <a:gd name="T56" fmla="*/ 4 w 721"/>
                <a:gd name="T57" fmla="*/ 566 h 570"/>
                <a:gd name="T58" fmla="*/ 9 w 721"/>
                <a:gd name="T59" fmla="*/ 569 h 570"/>
                <a:gd name="T60" fmla="*/ 15 w 721"/>
                <a:gd name="T61" fmla="*/ 570 h 570"/>
                <a:gd name="T62" fmla="*/ 709 w 721"/>
                <a:gd name="T63" fmla="*/ 570 h 570"/>
                <a:gd name="T64" fmla="*/ 715 w 721"/>
                <a:gd name="T65" fmla="*/ 568 h 570"/>
                <a:gd name="T66" fmla="*/ 719 w 721"/>
                <a:gd name="T67" fmla="*/ 564 h 570"/>
                <a:gd name="T68" fmla="*/ 721 w 721"/>
                <a:gd name="T69" fmla="*/ 559 h 570"/>
                <a:gd name="T70" fmla="*/ 721 w 721"/>
                <a:gd name="T71" fmla="*/ 15 h 570"/>
                <a:gd name="T72" fmla="*/ 720 w 721"/>
                <a:gd name="T73" fmla="*/ 9 h 570"/>
                <a:gd name="T74" fmla="*/ 717 w 721"/>
                <a:gd name="T75" fmla="*/ 4 h 570"/>
                <a:gd name="T76" fmla="*/ 713 w 721"/>
                <a:gd name="T77" fmla="*/ 1 h 570"/>
                <a:gd name="T78" fmla="*/ 706 w 721"/>
                <a:gd name="T79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1" h="570">
                  <a:moveTo>
                    <a:pt x="511" y="420"/>
                  </a:moveTo>
                  <a:lnTo>
                    <a:pt x="210" y="420"/>
                  </a:lnTo>
                  <a:lnTo>
                    <a:pt x="210" y="150"/>
                  </a:lnTo>
                  <a:lnTo>
                    <a:pt x="511" y="150"/>
                  </a:lnTo>
                  <a:lnTo>
                    <a:pt x="511" y="420"/>
                  </a:lnTo>
                  <a:close/>
                  <a:moveTo>
                    <a:pt x="706" y="0"/>
                  </a:moveTo>
                  <a:lnTo>
                    <a:pt x="556" y="0"/>
                  </a:lnTo>
                  <a:lnTo>
                    <a:pt x="556" y="60"/>
                  </a:lnTo>
                  <a:lnTo>
                    <a:pt x="555" y="65"/>
                  </a:lnTo>
                  <a:lnTo>
                    <a:pt x="554" y="72"/>
                  </a:lnTo>
                  <a:lnTo>
                    <a:pt x="551" y="76"/>
                  </a:lnTo>
                  <a:lnTo>
                    <a:pt x="547" y="80"/>
                  </a:lnTo>
                  <a:lnTo>
                    <a:pt x="543" y="85"/>
                  </a:lnTo>
                  <a:lnTo>
                    <a:pt x="538" y="88"/>
                  </a:lnTo>
                  <a:lnTo>
                    <a:pt x="532" y="89"/>
                  </a:lnTo>
                  <a:lnTo>
                    <a:pt x="526" y="90"/>
                  </a:lnTo>
                  <a:lnTo>
                    <a:pt x="520" y="89"/>
                  </a:lnTo>
                  <a:lnTo>
                    <a:pt x="514" y="87"/>
                  </a:lnTo>
                  <a:lnTo>
                    <a:pt x="509" y="85"/>
                  </a:lnTo>
                  <a:lnTo>
                    <a:pt x="505" y="80"/>
                  </a:lnTo>
                  <a:lnTo>
                    <a:pt x="501" y="76"/>
                  </a:lnTo>
                  <a:lnTo>
                    <a:pt x="498" y="72"/>
                  </a:lnTo>
                  <a:lnTo>
                    <a:pt x="496" y="65"/>
                  </a:lnTo>
                  <a:lnTo>
                    <a:pt x="496" y="60"/>
                  </a:lnTo>
                  <a:lnTo>
                    <a:pt x="496" y="0"/>
                  </a:lnTo>
                  <a:lnTo>
                    <a:pt x="225" y="0"/>
                  </a:lnTo>
                  <a:lnTo>
                    <a:pt x="226" y="60"/>
                  </a:lnTo>
                  <a:lnTo>
                    <a:pt x="225" y="65"/>
                  </a:lnTo>
                  <a:lnTo>
                    <a:pt x="223" y="72"/>
                  </a:lnTo>
                  <a:lnTo>
                    <a:pt x="221" y="76"/>
                  </a:lnTo>
                  <a:lnTo>
                    <a:pt x="216" y="80"/>
                  </a:lnTo>
                  <a:lnTo>
                    <a:pt x="212" y="85"/>
                  </a:lnTo>
                  <a:lnTo>
                    <a:pt x="207" y="88"/>
                  </a:lnTo>
                  <a:lnTo>
                    <a:pt x="201" y="89"/>
                  </a:lnTo>
                  <a:lnTo>
                    <a:pt x="195" y="90"/>
                  </a:lnTo>
                  <a:lnTo>
                    <a:pt x="189" y="89"/>
                  </a:lnTo>
                  <a:lnTo>
                    <a:pt x="184" y="87"/>
                  </a:lnTo>
                  <a:lnTo>
                    <a:pt x="179" y="85"/>
                  </a:lnTo>
                  <a:lnTo>
                    <a:pt x="174" y="80"/>
                  </a:lnTo>
                  <a:lnTo>
                    <a:pt x="170" y="76"/>
                  </a:lnTo>
                  <a:lnTo>
                    <a:pt x="168" y="72"/>
                  </a:lnTo>
                  <a:lnTo>
                    <a:pt x="166" y="65"/>
                  </a:lnTo>
                  <a:lnTo>
                    <a:pt x="165" y="6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55"/>
                  </a:lnTo>
                  <a:lnTo>
                    <a:pt x="1" y="559"/>
                  </a:lnTo>
                  <a:lnTo>
                    <a:pt x="1" y="562"/>
                  </a:lnTo>
                  <a:lnTo>
                    <a:pt x="3" y="564"/>
                  </a:lnTo>
                  <a:lnTo>
                    <a:pt x="4" y="566"/>
                  </a:lnTo>
                  <a:lnTo>
                    <a:pt x="6" y="568"/>
                  </a:lnTo>
                  <a:lnTo>
                    <a:pt x="9" y="569"/>
                  </a:lnTo>
                  <a:lnTo>
                    <a:pt x="11" y="570"/>
                  </a:lnTo>
                  <a:lnTo>
                    <a:pt x="15" y="570"/>
                  </a:lnTo>
                  <a:lnTo>
                    <a:pt x="706" y="570"/>
                  </a:lnTo>
                  <a:lnTo>
                    <a:pt x="709" y="570"/>
                  </a:lnTo>
                  <a:lnTo>
                    <a:pt x="713" y="569"/>
                  </a:lnTo>
                  <a:lnTo>
                    <a:pt x="715" y="568"/>
                  </a:lnTo>
                  <a:lnTo>
                    <a:pt x="717" y="566"/>
                  </a:lnTo>
                  <a:lnTo>
                    <a:pt x="719" y="564"/>
                  </a:lnTo>
                  <a:lnTo>
                    <a:pt x="720" y="562"/>
                  </a:lnTo>
                  <a:lnTo>
                    <a:pt x="721" y="559"/>
                  </a:lnTo>
                  <a:lnTo>
                    <a:pt x="721" y="555"/>
                  </a:lnTo>
                  <a:lnTo>
                    <a:pt x="721" y="15"/>
                  </a:lnTo>
                  <a:lnTo>
                    <a:pt x="721" y="12"/>
                  </a:lnTo>
                  <a:lnTo>
                    <a:pt x="720" y="9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3" y="1"/>
                  </a:lnTo>
                  <a:lnTo>
                    <a:pt x="709" y="0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4134"/>
            <p:cNvSpPr>
              <a:spLocks/>
            </p:cNvSpPr>
            <p:nvPr/>
          </p:nvSpPr>
          <p:spPr bwMode="auto">
            <a:xfrm>
              <a:off x="10521950" y="1382713"/>
              <a:ext cx="115888" cy="128588"/>
            </a:xfrm>
            <a:custGeom>
              <a:avLst/>
              <a:gdLst>
                <a:gd name="T0" fmla="*/ 0 w 361"/>
                <a:gd name="T1" fmla="*/ 391 h 406"/>
                <a:gd name="T2" fmla="*/ 2 w 361"/>
                <a:gd name="T3" fmla="*/ 396 h 406"/>
                <a:gd name="T4" fmla="*/ 5 w 361"/>
                <a:gd name="T5" fmla="*/ 402 h 406"/>
                <a:gd name="T6" fmla="*/ 9 w 361"/>
                <a:gd name="T7" fmla="*/ 405 h 406"/>
                <a:gd name="T8" fmla="*/ 15 w 361"/>
                <a:gd name="T9" fmla="*/ 406 h 406"/>
                <a:gd name="T10" fmla="*/ 21 w 361"/>
                <a:gd name="T11" fmla="*/ 405 h 406"/>
                <a:gd name="T12" fmla="*/ 26 w 361"/>
                <a:gd name="T13" fmla="*/ 402 h 406"/>
                <a:gd name="T14" fmla="*/ 29 w 361"/>
                <a:gd name="T15" fmla="*/ 396 h 406"/>
                <a:gd name="T16" fmla="*/ 30 w 361"/>
                <a:gd name="T17" fmla="*/ 391 h 406"/>
                <a:gd name="T18" fmla="*/ 30 w 361"/>
                <a:gd name="T19" fmla="*/ 169 h 406"/>
                <a:gd name="T20" fmla="*/ 34 w 361"/>
                <a:gd name="T21" fmla="*/ 140 h 406"/>
                <a:gd name="T22" fmla="*/ 44 w 361"/>
                <a:gd name="T23" fmla="*/ 113 h 406"/>
                <a:gd name="T24" fmla="*/ 59 w 361"/>
                <a:gd name="T25" fmla="*/ 89 h 406"/>
                <a:gd name="T26" fmla="*/ 80 w 361"/>
                <a:gd name="T27" fmla="*/ 67 h 406"/>
                <a:gd name="T28" fmla="*/ 105 w 361"/>
                <a:gd name="T29" fmla="*/ 50 h 406"/>
                <a:gd name="T30" fmla="*/ 132 w 361"/>
                <a:gd name="T31" fmla="*/ 37 h 406"/>
                <a:gd name="T32" fmla="*/ 162 w 361"/>
                <a:gd name="T33" fmla="*/ 31 h 406"/>
                <a:gd name="T34" fmla="*/ 179 w 361"/>
                <a:gd name="T35" fmla="*/ 30 h 406"/>
                <a:gd name="T36" fmla="*/ 191 w 361"/>
                <a:gd name="T37" fmla="*/ 31 h 406"/>
                <a:gd name="T38" fmla="*/ 213 w 361"/>
                <a:gd name="T39" fmla="*/ 34 h 406"/>
                <a:gd name="T40" fmla="*/ 226 w 361"/>
                <a:gd name="T41" fmla="*/ 37 h 406"/>
                <a:gd name="T42" fmla="*/ 236 w 361"/>
                <a:gd name="T43" fmla="*/ 41 h 406"/>
                <a:gd name="T44" fmla="*/ 253 w 361"/>
                <a:gd name="T45" fmla="*/ 48 h 406"/>
                <a:gd name="T46" fmla="*/ 269 w 361"/>
                <a:gd name="T47" fmla="*/ 59 h 406"/>
                <a:gd name="T48" fmla="*/ 284 w 361"/>
                <a:gd name="T49" fmla="*/ 71 h 406"/>
                <a:gd name="T50" fmla="*/ 291 w 361"/>
                <a:gd name="T51" fmla="*/ 77 h 406"/>
                <a:gd name="T52" fmla="*/ 301 w 361"/>
                <a:gd name="T53" fmla="*/ 89 h 406"/>
                <a:gd name="T54" fmla="*/ 316 w 361"/>
                <a:gd name="T55" fmla="*/ 113 h 406"/>
                <a:gd name="T56" fmla="*/ 327 w 361"/>
                <a:gd name="T57" fmla="*/ 141 h 406"/>
                <a:gd name="T58" fmla="*/ 331 w 361"/>
                <a:gd name="T59" fmla="*/ 170 h 406"/>
                <a:gd name="T60" fmla="*/ 331 w 361"/>
                <a:gd name="T61" fmla="*/ 331 h 406"/>
                <a:gd name="T62" fmla="*/ 331 w 361"/>
                <a:gd name="T63" fmla="*/ 393 h 406"/>
                <a:gd name="T64" fmla="*/ 333 w 361"/>
                <a:gd name="T65" fmla="*/ 399 h 406"/>
                <a:gd name="T66" fmla="*/ 337 w 361"/>
                <a:gd name="T67" fmla="*/ 403 h 406"/>
                <a:gd name="T68" fmla="*/ 343 w 361"/>
                <a:gd name="T69" fmla="*/ 405 h 406"/>
                <a:gd name="T70" fmla="*/ 349 w 361"/>
                <a:gd name="T71" fmla="*/ 405 h 406"/>
                <a:gd name="T72" fmla="*/ 355 w 361"/>
                <a:gd name="T73" fmla="*/ 403 h 406"/>
                <a:gd name="T74" fmla="*/ 359 w 361"/>
                <a:gd name="T75" fmla="*/ 400 h 406"/>
                <a:gd name="T76" fmla="*/ 361 w 361"/>
                <a:gd name="T77" fmla="*/ 394 h 406"/>
                <a:gd name="T78" fmla="*/ 361 w 361"/>
                <a:gd name="T79" fmla="*/ 186 h 406"/>
                <a:gd name="T80" fmla="*/ 360 w 361"/>
                <a:gd name="T81" fmla="*/ 158 h 406"/>
                <a:gd name="T82" fmla="*/ 355 w 361"/>
                <a:gd name="T83" fmla="*/ 132 h 406"/>
                <a:gd name="T84" fmla="*/ 346 w 361"/>
                <a:gd name="T85" fmla="*/ 106 h 406"/>
                <a:gd name="T86" fmla="*/ 332 w 361"/>
                <a:gd name="T87" fmla="*/ 82 h 406"/>
                <a:gd name="T88" fmla="*/ 313 w 361"/>
                <a:gd name="T89" fmla="*/ 57 h 406"/>
                <a:gd name="T90" fmla="*/ 285 w 361"/>
                <a:gd name="T91" fmla="*/ 33 h 406"/>
                <a:gd name="T92" fmla="*/ 254 w 361"/>
                <a:gd name="T93" fmla="*/ 16 h 406"/>
                <a:gd name="T94" fmla="*/ 220 w 361"/>
                <a:gd name="T95" fmla="*/ 4 h 406"/>
                <a:gd name="T96" fmla="*/ 184 w 361"/>
                <a:gd name="T97" fmla="*/ 0 h 406"/>
                <a:gd name="T98" fmla="*/ 180 w 361"/>
                <a:gd name="T99" fmla="*/ 0 h 406"/>
                <a:gd name="T100" fmla="*/ 173 w 361"/>
                <a:gd name="T101" fmla="*/ 0 h 406"/>
                <a:gd name="T102" fmla="*/ 138 w 361"/>
                <a:gd name="T103" fmla="*/ 5 h 406"/>
                <a:gd name="T104" fmla="*/ 105 w 361"/>
                <a:gd name="T105" fmla="*/ 16 h 406"/>
                <a:gd name="T106" fmla="*/ 74 w 361"/>
                <a:gd name="T107" fmla="*/ 34 h 406"/>
                <a:gd name="T108" fmla="*/ 47 w 361"/>
                <a:gd name="T109" fmla="*/ 57 h 406"/>
                <a:gd name="T110" fmla="*/ 26 w 361"/>
                <a:gd name="T111" fmla="*/ 86 h 406"/>
                <a:gd name="T112" fmla="*/ 11 w 361"/>
                <a:gd name="T113" fmla="*/ 117 h 406"/>
                <a:gd name="T114" fmla="*/ 2 w 361"/>
                <a:gd name="T115" fmla="*/ 151 h 406"/>
                <a:gd name="T116" fmla="*/ 0 w 361"/>
                <a:gd name="T117" fmla="*/ 185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1" h="406">
                  <a:moveTo>
                    <a:pt x="0" y="331"/>
                  </a:moveTo>
                  <a:lnTo>
                    <a:pt x="0" y="391"/>
                  </a:lnTo>
                  <a:lnTo>
                    <a:pt x="1" y="393"/>
                  </a:lnTo>
                  <a:lnTo>
                    <a:pt x="2" y="396"/>
                  </a:lnTo>
                  <a:lnTo>
                    <a:pt x="3" y="399"/>
                  </a:lnTo>
                  <a:lnTo>
                    <a:pt x="5" y="402"/>
                  </a:lnTo>
                  <a:lnTo>
                    <a:pt x="7" y="403"/>
                  </a:lnTo>
                  <a:lnTo>
                    <a:pt x="9" y="405"/>
                  </a:lnTo>
                  <a:lnTo>
                    <a:pt x="13" y="405"/>
                  </a:lnTo>
                  <a:lnTo>
                    <a:pt x="15" y="406"/>
                  </a:lnTo>
                  <a:lnTo>
                    <a:pt x="18" y="405"/>
                  </a:lnTo>
                  <a:lnTo>
                    <a:pt x="21" y="405"/>
                  </a:lnTo>
                  <a:lnTo>
                    <a:pt x="23" y="403"/>
                  </a:lnTo>
                  <a:lnTo>
                    <a:pt x="26" y="402"/>
                  </a:lnTo>
                  <a:lnTo>
                    <a:pt x="28" y="400"/>
                  </a:lnTo>
                  <a:lnTo>
                    <a:pt x="29" y="396"/>
                  </a:lnTo>
                  <a:lnTo>
                    <a:pt x="30" y="394"/>
                  </a:lnTo>
                  <a:lnTo>
                    <a:pt x="30" y="391"/>
                  </a:lnTo>
                  <a:lnTo>
                    <a:pt x="30" y="184"/>
                  </a:lnTo>
                  <a:lnTo>
                    <a:pt x="30" y="169"/>
                  </a:lnTo>
                  <a:lnTo>
                    <a:pt x="32" y="155"/>
                  </a:lnTo>
                  <a:lnTo>
                    <a:pt x="34" y="140"/>
                  </a:lnTo>
                  <a:lnTo>
                    <a:pt x="38" y="127"/>
                  </a:lnTo>
                  <a:lnTo>
                    <a:pt x="44" y="113"/>
                  </a:lnTo>
                  <a:lnTo>
                    <a:pt x="51" y="101"/>
                  </a:lnTo>
                  <a:lnTo>
                    <a:pt x="59" y="89"/>
                  </a:lnTo>
                  <a:lnTo>
                    <a:pt x="68" y="78"/>
                  </a:lnTo>
                  <a:lnTo>
                    <a:pt x="80" y="67"/>
                  </a:lnTo>
                  <a:lnTo>
                    <a:pt x="92" y="58"/>
                  </a:lnTo>
                  <a:lnTo>
                    <a:pt x="105" y="50"/>
                  </a:lnTo>
                  <a:lnTo>
                    <a:pt x="118" y="43"/>
                  </a:lnTo>
                  <a:lnTo>
                    <a:pt x="132" y="37"/>
                  </a:lnTo>
                  <a:lnTo>
                    <a:pt x="147" y="34"/>
                  </a:lnTo>
                  <a:lnTo>
                    <a:pt x="162" y="31"/>
                  </a:lnTo>
                  <a:lnTo>
                    <a:pt x="177" y="30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91" y="31"/>
                  </a:lnTo>
                  <a:lnTo>
                    <a:pt x="200" y="32"/>
                  </a:lnTo>
                  <a:lnTo>
                    <a:pt x="213" y="34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36" y="41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1" y="53"/>
                  </a:lnTo>
                  <a:lnTo>
                    <a:pt x="269" y="59"/>
                  </a:lnTo>
                  <a:lnTo>
                    <a:pt x="276" y="64"/>
                  </a:lnTo>
                  <a:lnTo>
                    <a:pt x="284" y="71"/>
                  </a:lnTo>
                  <a:lnTo>
                    <a:pt x="290" y="77"/>
                  </a:lnTo>
                  <a:lnTo>
                    <a:pt x="291" y="77"/>
                  </a:lnTo>
                  <a:lnTo>
                    <a:pt x="291" y="78"/>
                  </a:lnTo>
                  <a:lnTo>
                    <a:pt x="301" y="89"/>
                  </a:lnTo>
                  <a:lnTo>
                    <a:pt x="310" y="102"/>
                  </a:lnTo>
                  <a:lnTo>
                    <a:pt x="316" y="113"/>
                  </a:lnTo>
                  <a:lnTo>
                    <a:pt x="322" y="127"/>
                  </a:lnTo>
                  <a:lnTo>
                    <a:pt x="327" y="141"/>
                  </a:lnTo>
                  <a:lnTo>
                    <a:pt x="329" y="155"/>
                  </a:lnTo>
                  <a:lnTo>
                    <a:pt x="331" y="170"/>
                  </a:lnTo>
                  <a:lnTo>
                    <a:pt x="331" y="185"/>
                  </a:lnTo>
                  <a:lnTo>
                    <a:pt x="331" y="331"/>
                  </a:lnTo>
                  <a:lnTo>
                    <a:pt x="331" y="391"/>
                  </a:lnTo>
                  <a:lnTo>
                    <a:pt x="331" y="393"/>
                  </a:lnTo>
                  <a:lnTo>
                    <a:pt x="332" y="396"/>
                  </a:lnTo>
                  <a:lnTo>
                    <a:pt x="333" y="399"/>
                  </a:lnTo>
                  <a:lnTo>
                    <a:pt x="335" y="402"/>
                  </a:lnTo>
                  <a:lnTo>
                    <a:pt x="337" y="403"/>
                  </a:lnTo>
                  <a:lnTo>
                    <a:pt x="340" y="405"/>
                  </a:lnTo>
                  <a:lnTo>
                    <a:pt x="343" y="405"/>
                  </a:lnTo>
                  <a:lnTo>
                    <a:pt x="346" y="406"/>
                  </a:lnTo>
                  <a:lnTo>
                    <a:pt x="349" y="405"/>
                  </a:lnTo>
                  <a:lnTo>
                    <a:pt x="351" y="405"/>
                  </a:lnTo>
                  <a:lnTo>
                    <a:pt x="355" y="403"/>
                  </a:lnTo>
                  <a:lnTo>
                    <a:pt x="357" y="402"/>
                  </a:lnTo>
                  <a:lnTo>
                    <a:pt x="359" y="400"/>
                  </a:lnTo>
                  <a:lnTo>
                    <a:pt x="360" y="396"/>
                  </a:lnTo>
                  <a:lnTo>
                    <a:pt x="361" y="394"/>
                  </a:lnTo>
                  <a:lnTo>
                    <a:pt x="361" y="391"/>
                  </a:lnTo>
                  <a:lnTo>
                    <a:pt x="361" y="186"/>
                  </a:lnTo>
                  <a:lnTo>
                    <a:pt x="361" y="172"/>
                  </a:lnTo>
                  <a:lnTo>
                    <a:pt x="360" y="158"/>
                  </a:lnTo>
                  <a:lnTo>
                    <a:pt x="358" y="145"/>
                  </a:lnTo>
                  <a:lnTo>
                    <a:pt x="355" y="132"/>
                  </a:lnTo>
                  <a:lnTo>
                    <a:pt x="351" y="119"/>
                  </a:lnTo>
                  <a:lnTo>
                    <a:pt x="346" y="106"/>
                  </a:lnTo>
                  <a:lnTo>
                    <a:pt x="340" y="94"/>
                  </a:lnTo>
                  <a:lnTo>
                    <a:pt x="332" y="82"/>
                  </a:lnTo>
                  <a:lnTo>
                    <a:pt x="323" y="68"/>
                  </a:lnTo>
                  <a:lnTo>
                    <a:pt x="313" y="57"/>
                  </a:lnTo>
                  <a:lnTo>
                    <a:pt x="300" y="44"/>
                  </a:lnTo>
                  <a:lnTo>
                    <a:pt x="285" y="33"/>
                  </a:lnTo>
                  <a:lnTo>
                    <a:pt x="270" y="23"/>
                  </a:lnTo>
                  <a:lnTo>
                    <a:pt x="254" y="16"/>
                  </a:lnTo>
                  <a:lnTo>
                    <a:pt x="237" y="9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0" y="0"/>
                  </a:lnTo>
                  <a:lnTo>
                    <a:pt x="177" y="0"/>
                  </a:lnTo>
                  <a:lnTo>
                    <a:pt x="173" y="0"/>
                  </a:lnTo>
                  <a:lnTo>
                    <a:pt x="155" y="2"/>
                  </a:lnTo>
                  <a:lnTo>
                    <a:pt x="138" y="5"/>
                  </a:lnTo>
                  <a:lnTo>
                    <a:pt x="121" y="9"/>
                  </a:lnTo>
                  <a:lnTo>
                    <a:pt x="105" y="16"/>
                  </a:lnTo>
                  <a:lnTo>
                    <a:pt x="89" y="24"/>
                  </a:lnTo>
                  <a:lnTo>
                    <a:pt x="74" y="34"/>
                  </a:lnTo>
                  <a:lnTo>
                    <a:pt x="60" y="45"/>
                  </a:lnTo>
                  <a:lnTo>
                    <a:pt x="47" y="57"/>
                  </a:lnTo>
                  <a:lnTo>
                    <a:pt x="35" y="71"/>
                  </a:lnTo>
                  <a:lnTo>
                    <a:pt x="26" y="86"/>
                  </a:lnTo>
                  <a:lnTo>
                    <a:pt x="17" y="101"/>
                  </a:lnTo>
                  <a:lnTo>
                    <a:pt x="11" y="117"/>
                  </a:lnTo>
                  <a:lnTo>
                    <a:pt x="5" y="134"/>
                  </a:lnTo>
                  <a:lnTo>
                    <a:pt x="2" y="151"/>
                  </a:lnTo>
                  <a:lnTo>
                    <a:pt x="0" y="168"/>
                  </a:lnTo>
                  <a:lnTo>
                    <a:pt x="0" y="185"/>
                  </a:lnTo>
                  <a:lnTo>
                    <a:pt x="0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4135"/>
            <p:cNvSpPr>
              <a:spLocks/>
            </p:cNvSpPr>
            <p:nvPr/>
          </p:nvSpPr>
          <p:spPr bwMode="auto">
            <a:xfrm>
              <a:off x="10656888" y="1398588"/>
              <a:ext cx="74613" cy="79375"/>
            </a:xfrm>
            <a:custGeom>
              <a:avLst/>
              <a:gdLst>
                <a:gd name="T0" fmla="*/ 230 w 235"/>
                <a:gd name="T1" fmla="*/ 85 h 250"/>
                <a:gd name="T2" fmla="*/ 150 w 235"/>
                <a:gd name="T3" fmla="*/ 5 h 250"/>
                <a:gd name="T4" fmla="*/ 148 w 235"/>
                <a:gd name="T5" fmla="*/ 2 h 250"/>
                <a:gd name="T6" fmla="*/ 145 w 235"/>
                <a:gd name="T7" fmla="*/ 1 h 250"/>
                <a:gd name="T8" fmla="*/ 142 w 235"/>
                <a:gd name="T9" fmla="*/ 0 h 250"/>
                <a:gd name="T10" fmla="*/ 138 w 235"/>
                <a:gd name="T11" fmla="*/ 0 h 250"/>
                <a:gd name="T12" fmla="*/ 135 w 235"/>
                <a:gd name="T13" fmla="*/ 0 h 250"/>
                <a:gd name="T14" fmla="*/ 133 w 235"/>
                <a:gd name="T15" fmla="*/ 1 h 250"/>
                <a:gd name="T16" fmla="*/ 130 w 235"/>
                <a:gd name="T17" fmla="*/ 2 h 250"/>
                <a:gd name="T18" fmla="*/ 128 w 235"/>
                <a:gd name="T19" fmla="*/ 5 h 250"/>
                <a:gd name="T20" fmla="*/ 3 w 235"/>
                <a:gd name="T21" fmla="*/ 149 h 250"/>
                <a:gd name="T22" fmla="*/ 1 w 235"/>
                <a:gd name="T23" fmla="*/ 155 h 250"/>
                <a:gd name="T24" fmla="*/ 0 w 235"/>
                <a:gd name="T25" fmla="*/ 159 h 250"/>
                <a:gd name="T26" fmla="*/ 0 w 235"/>
                <a:gd name="T27" fmla="*/ 235 h 250"/>
                <a:gd name="T28" fmla="*/ 0 w 235"/>
                <a:gd name="T29" fmla="*/ 237 h 250"/>
                <a:gd name="T30" fmla="*/ 1 w 235"/>
                <a:gd name="T31" fmla="*/ 240 h 250"/>
                <a:gd name="T32" fmla="*/ 2 w 235"/>
                <a:gd name="T33" fmla="*/ 243 h 250"/>
                <a:gd name="T34" fmla="*/ 4 w 235"/>
                <a:gd name="T35" fmla="*/ 245 h 250"/>
                <a:gd name="T36" fmla="*/ 6 w 235"/>
                <a:gd name="T37" fmla="*/ 247 h 250"/>
                <a:gd name="T38" fmla="*/ 10 w 235"/>
                <a:gd name="T39" fmla="*/ 248 h 250"/>
                <a:gd name="T40" fmla="*/ 12 w 235"/>
                <a:gd name="T41" fmla="*/ 249 h 250"/>
                <a:gd name="T42" fmla="*/ 15 w 235"/>
                <a:gd name="T43" fmla="*/ 250 h 250"/>
                <a:gd name="T44" fmla="*/ 90 w 235"/>
                <a:gd name="T45" fmla="*/ 250 h 250"/>
                <a:gd name="T46" fmla="*/ 93 w 235"/>
                <a:gd name="T47" fmla="*/ 249 h 250"/>
                <a:gd name="T48" fmla="*/ 96 w 235"/>
                <a:gd name="T49" fmla="*/ 248 h 250"/>
                <a:gd name="T50" fmla="*/ 99 w 235"/>
                <a:gd name="T51" fmla="*/ 247 h 250"/>
                <a:gd name="T52" fmla="*/ 101 w 235"/>
                <a:gd name="T53" fmla="*/ 245 h 250"/>
                <a:gd name="T54" fmla="*/ 230 w 235"/>
                <a:gd name="T55" fmla="*/ 105 h 250"/>
                <a:gd name="T56" fmla="*/ 233 w 235"/>
                <a:gd name="T57" fmla="*/ 103 h 250"/>
                <a:gd name="T58" fmla="*/ 234 w 235"/>
                <a:gd name="T59" fmla="*/ 101 h 250"/>
                <a:gd name="T60" fmla="*/ 235 w 235"/>
                <a:gd name="T61" fmla="*/ 98 h 250"/>
                <a:gd name="T62" fmla="*/ 235 w 235"/>
                <a:gd name="T63" fmla="*/ 95 h 250"/>
                <a:gd name="T64" fmla="*/ 235 w 235"/>
                <a:gd name="T65" fmla="*/ 92 h 250"/>
                <a:gd name="T66" fmla="*/ 234 w 235"/>
                <a:gd name="T67" fmla="*/ 89 h 250"/>
                <a:gd name="T68" fmla="*/ 233 w 235"/>
                <a:gd name="T69" fmla="*/ 87 h 250"/>
                <a:gd name="T70" fmla="*/ 230 w 235"/>
                <a:gd name="T71" fmla="*/ 8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5" h="250">
                  <a:moveTo>
                    <a:pt x="230" y="85"/>
                  </a:moveTo>
                  <a:lnTo>
                    <a:pt x="150" y="5"/>
                  </a:lnTo>
                  <a:lnTo>
                    <a:pt x="148" y="2"/>
                  </a:lnTo>
                  <a:lnTo>
                    <a:pt x="145" y="1"/>
                  </a:lnTo>
                  <a:lnTo>
                    <a:pt x="142" y="0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33" y="1"/>
                  </a:lnTo>
                  <a:lnTo>
                    <a:pt x="130" y="2"/>
                  </a:lnTo>
                  <a:lnTo>
                    <a:pt x="128" y="5"/>
                  </a:lnTo>
                  <a:lnTo>
                    <a:pt x="3" y="149"/>
                  </a:lnTo>
                  <a:lnTo>
                    <a:pt x="1" y="155"/>
                  </a:lnTo>
                  <a:lnTo>
                    <a:pt x="0" y="159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" y="245"/>
                  </a:lnTo>
                  <a:lnTo>
                    <a:pt x="6" y="247"/>
                  </a:lnTo>
                  <a:lnTo>
                    <a:pt x="10" y="248"/>
                  </a:lnTo>
                  <a:lnTo>
                    <a:pt x="12" y="249"/>
                  </a:lnTo>
                  <a:lnTo>
                    <a:pt x="15" y="250"/>
                  </a:lnTo>
                  <a:lnTo>
                    <a:pt x="90" y="250"/>
                  </a:lnTo>
                  <a:lnTo>
                    <a:pt x="93" y="249"/>
                  </a:lnTo>
                  <a:lnTo>
                    <a:pt x="96" y="248"/>
                  </a:lnTo>
                  <a:lnTo>
                    <a:pt x="99" y="247"/>
                  </a:lnTo>
                  <a:lnTo>
                    <a:pt x="101" y="245"/>
                  </a:lnTo>
                  <a:lnTo>
                    <a:pt x="230" y="105"/>
                  </a:lnTo>
                  <a:lnTo>
                    <a:pt x="233" y="103"/>
                  </a:lnTo>
                  <a:lnTo>
                    <a:pt x="234" y="101"/>
                  </a:lnTo>
                  <a:lnTo>
                    <a:pt x="235" y="98"/>
                  </a:lnTo>
                  <a:lnTo>
                    <a:pt x="235" y="95"/>
                  </a:lnTo>
                  <a:lnTo>
                    <a:pt x="235" y="92"/>
                  </a:lnTo>
                  <a:lnTo>
                    <a:pt x="234" y="89"/>
                  </a:lnTo>
                  <a:lnTo>
                    <a:pt x="233" y="87"/>
                  </a:lnTo>
                  <a:lnTo>
                    <a:pt x="23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6545410" y="5717826"/>
            <a:ext cx="195934" cy="172820"/>
            <a:chOff x="5465763" y="812800"/>
            <a:chExt cx="282575" cy="2492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9" name="Freeform 642"/>
            <p:cNvSpPr>
              <a:spLocks noEditPoints="1"/>
            </p:cNvSpPr>
            <p:nvPr/>
          </p:nvSpPr>
          <p:spPr bwMode="auto">
            <a:xfrm>
              <a:off x="5527675" y="812800"/>
              <a:ext cx="63500" cy="247650"/>
            </a:xfrm>
            <a:custGeom>
              <a:avLst/>
              <a:gdLst>
                <a:gd name="T0" fmla="*/ 147 w 196"/>
                <a:gd name="T1" fmla="*/ 720 h 782"/>
                <a:gd name="T2" fmla="*/ 145 w 196"/>
                <a:gd name="T3" fmla="*/ 725 h 782"/>
                <a:gd name="T4" fmla="*/ 142 w 196"/>
                <a:gd name="T5" fmla="*/ 729 h 782"/>
                <a:gd name="T6" fmla="*/ 136 w 196"/>
                <a:gd name="T7" fmla="*/ 732 h 782"/>
                <a:gd name="T8" fmla="*/ 55 w 196"/>
                <a:gd name="T9" fmla="*/ 732 h 782"/>
                <a:gd name="T10" fmla="*/ 48 w 196"/>
                <a:gd name="T11" fmla="*/ 731 h 782"/>
                <a:gd name="T12" fmla="*/ 44 w 196"/>
                <a:gd name="T13" fmla="*/ 727 h 782"/>
                <a:gd name="T14" fmla="*/ 41 w 196"/>
                <a:gd name="T15" fmla="*/ 723 h 782"/>
                <a:gd name="T16" fmla="*/ 40 w 196"/>
                <a:gd name="T17" fmla="*/ 717 h 782"/>
                <a:gd name="T18" fmla="*/ 40 w 196"/>
                <a:gd name="T19" fmla="*/ 558 h 782"/>
                <a:gd name="T20" fmla="*/ 42 w 196"/>
                <a:gd name="T21" fmla="*/ 552 h 782"/>
                <a:gd name="T22" fmla="*/ 46 w 196"/>
                <a:gd name="T23" fmla="*/ 548 h 782"/>
                <a:gd name="T24" fmla="*/ 52 w 196"/>
                <a:gd name="T25" fmla="*/ 546 h 782"/>
                <a:gd name="T26" fmla="*/ 133 w 196"/>
                <a:gd name="T27" fmla="*/ 546 h 782"/>
                <a:gd name="T28" fmla="*/ 139 w 196"/>
                <a:gd name="T29" fmla="*/ 547 h 782"/>
                <a:gd name="T30" fmla="*/ 144 w 196"/>
                <a:gd name="T31" fmla="*/ 550 h 782"/>
                <a:gd name="T32" fmla="*/ 147 w 196"/>
                <a:gd name="T33" fmla="*/ 555 h 782"/>
                <a:gd name="T34" fmla="*/ 148 w 196"/>
                <a:gd name="T35" fmla="*/ 561 h 782"/>
                <a:gd name="T36" fmla="*/ 66 w 196"/>
                <a:gd name="T37" fmla="*/ 91 h 782"/>
                <a:gd name="T38" fmla="*/ 67 w 196"/>
                <a:gd name="T39" fmla="*/ 85 h 782"/>
                <a:gd name="T40" fmla="*/ 70 w 196"/>
                <a:gd name="T41" fmla="*/ 81 h 782"/>
                <a:gd name="T42" fmla="*/ 75 w 196"/>
                <a:gd name="T43" fmla="*/ 77 h 782"/>
                <a:gd name="T44" fmla="*/ 81 w 196"/>
                <a:gd name="T45" fmla="*/ 76 h 782"/>
                <a:gd name="T46" fmla="*/ 87 w 196"/>
                <a:gd name="T47" fmla="*/ 77 h 782"/>
                <a:gd name="T48" fmla="*/ 91 w 196"/>
                <a:gd name="T49" fmla="*/ 81 h 782"/>
                <a:gd name="T50" fmla="*/ 95 w 196"/>
                <a:gd name="T51" fmla="*/ 85 h 782"/>
                <a:gd name="T52" fmla="*/ 96 w 196"/>
                <a:gd name="T53" fmla="*/ 91 h 782"/>
                <a:gd name="T54" fmla="*/ 96 w 196"/>
                <a:gd name="T55" fmla="*/ 512 h 782"/>
                <a:gd name="T56" fmla="*/ 93 w 196"/>
                <a:gd name="T57" fmla="*/ 517 h 782"/>
                <a:gd name="T58" fmla="*/ 89 w 196"/>
                <a:gd name="T59" fmla="*/ 521 h 782"/>
                <a:gd name="T60" fmla="*/ 84 w 196"/>
                <a:gd name="T61" fmla="*/ 524 h 782"/>
                <a:gd name="T62" fmla="*/ 77 w 196"/>
                <a:gd name="T63" fmla="*/ 524 h 782"/>
                <a:gd name="T64" fmla="*/ 72 w 196"/>
                <a:gd name="T65" fmla="*/ 521 h 782"/>
                <a:gd name="T66" fmla="*/ 68 w 196"/>
                <a:gd name="T67" fmla="*/ 517 h 782"/>
                <a:gd name="T68" fmla="*/ 66 w 196"/>
                <a:gd name="T69" fmla="*/ 512 h 782"/>
                <a:gd name="T70" fmla="*/ 66 w 196"/>
                <a:gd name="T71" fmla="*/ 91 h 782"/>
                <a:gd name="T72" fmla="*/ 15 w 196"/>
                <a:gd name="T73" fmla="*/ 0 h 782"/>
                <a:gd name="T74" fmla="*/ 10 w 196"/>
                <a:gd name="T75" fmla="*/ 1 h 782"/>
                <a:gd name="T76" fmla="*/ 4 w 196"/>
                <a:gd name="T77" fmla="*/ 4 h 782"/>
                <a:gd name="T78" fmla="*/ 1 w 196"/>
                <a:gd name="T79" fmla="*/ 9 h 782"/>
                <a:gd name="T80" fmla="*/ 0 w 196"/>
                <a:gd name="T81" fmla="*/ 15 h 782"/>
                <a:gd name="T82" fmla="*/ 1 w 196"/>
                <a:gd name="T83" fmla="*/ 770 h 782"/>
                <a:gd name="T84" fmla="*/ 3 w 196"/>
                <a:gd name="T85" fmla="*/ 776 h 782"/>
                <a:gd name="T86" fmla="*/ 8 w 196"/>
                <a:gd name="T87" fmla="*/ 780 h 782"/>
                <a:gd name="T88" fmla="*/ 13 w 196"/>
                <a:gd name="T89" fmla="*/ 782 h 782"/>
                <a:gd name="T90" fmla="*/ 181 w 196"/>
                <a:gd name="T91" fmla="*/ 782 h 782"/>
                <a:gd name="T92" fmla="*/ 187 w 196"/>
                <a:gd name="T93" fmla="*/ 781 h 782"/>
                <a:gd name="T94" fmla="*/ 192 w 196"/>
                <a:gd name="T95" fmla="*/ 778 h 782"/>
                <a:gd name="T96" fmla="*/ 195 w 196"/>
                <a:gd name="T97" fmla="*/ 773 h 782"/>
                <a:gd name="T98" fmla="*/ 196 w 196"/>
                <a:gd name="T99" fmla="*/ 767 h 782"/>
                <a:gd name="T100" fmla="*/ 196 w 196"/>
                <a:gd name="T101" fmla="*/ 12 h 782"/>
                <a:gd name="T102" fmla="*/ 193 w 196"/>
                <a:gd name="T103" fmla="*/ 7 h 782"/>
                <a:gd name="T104" fmla="*/ 190 w 196"/>
                <a:gd name="T105" fmla="*/ 2 h 782"/>
                <a:gd name="T106" fmla="*/ 185 w 196"/>
                <a:gd name="T107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782">
                  <a:moveTo>
                    <a:pt x="148" y="717"/>
                  </a:moveTo>
                  <a:lnTo>
                    <a:pt x="147" y="720"/>
                  </a:lnTo>
                  <a:lnTo>
                    <a:pt x="147" y="723"/>
                  </a:lnTo>
                  <a:lnTo>
                    <a:pt x="145" y="725"/>
                  </a:lnTo>
                  <a:lnTo>
                    <a:pt x="144" y="727"/>
                  </a:lnTo>
                  <a:lnTo>
                    <a:pt x="142" y="729"/>
                  </a:lnTo>
                  <a:lnTo>
                    <a:pt x="139" y="731"/>
                  </a:lnTo>
                  <a:lnTo>
                    <a:pt x="136" y="732"/>
                  </a:lnTo>
                  <a:lnTo>
                    <a:pt x="133" y="732"/>
                  </a:lnTo>
                  <a:lnTo>
                    <a:pt x="55" y="732"/>
                  </a:lnTo>
                  <a:lnTo>
                    <a:pt x="52" y="732"/>
                  </a:lnTo>
                  <a:lnTo>
                    <a:pt x="48" y="731"/>
                  </a:lnTo>
                  <a:lnTo>
                    <a:pt x="46" y="729"/>
                  </a:lnTo>
                  <a:lnTo>
                    <a:pt x="44" y="727"/>
                  </a:lnTo>
                  <a:lnTo>
                    <a:pt x="42" y="725"/>
                  </a:lnTo>
                  <a:lnTo>
                    <a:pt x="41" y="723"/>
                  </a:lnTo>
                  <a:lnTo>
                    <a:pt x="40" y="720"/>
                  </a:lnTo>
                  <a:lnTo>
                    <a:pt x="40" y="717"/>
                  </a:lnTo>
                  <a:lnTo>
                    <a:pt x="40" y="561"/>
                  </a:lnTo>
                  <a:lnTo>
                    <a:pt x="40" y="558"/>
                  </a:lnTo>
                  <a:lnTo>
                    <a:pt x="41" y="555"/>
                  </a:lnTo>
                  <a:lnTo>
                    <a:pt x="42" y="552"/>
                  </a:lnTo>
                  <a:lnTo>
                    <a:pt x="44" y="550"/>
                  </a:lnTo>
                  <a:lnTo>
                    <a:pt x="46" y="548"/>
                  </a:lnTo>
                  <a:lnTo>
                    <a:pt x="48" y="547"/>
                  </a:lnTo>
                  <a:lnTo>
                    <a:pt x="52" y="546"/>
                  </a:lnTo>
                  <a:lnTo>
                    <a:pt x="55" y="546"/>
                  </a:lnTo>
                  <a:lnTo>
                    <a:pt x="133" y="546"/>
                  </a:lnTo>
                  <a:lnTo>
                    <a:pt x="136" y="546"/>
                  </a:lnTo>
                  <a:lnTo>
                    <a:pt x="139" y="547"/>
                  </a:lnTo>
                  <a:lnTo>
                    <a:pt x="142" y="548"/>
                  </a:lnTo>
                  <a:lnTo>
                    <a:pt x="144" y="550"/>
                  </a:lnTo>
                  <a:lnTo>
                    <a:pt x="145" y="552"/>
                  </a:lnTo>
                  <a:lnTo>
                    <a:pt x="147" y="555"/>
                  </a:lnTo>
                  <a:lnTo>
                    <a:pt x="147" y="558"/>
                  </a:lnTo>
                  <a:lnTo>
                    <a:pt x="148" y="561"/>
                  </a:lnTo>
                  <a:lnTo>
                    <a:pt x="148" y="717"/>
                  </a:lnTo>
                  <a:close/>
                  <a:moveTo>
                    <a:pt x="66" y="91"/>
                  </a:moveTo>
                  <a:lnTo>
                    <a:pt x="66" y="88"/>
                  </a:lnTo>
                  <a:lnTo>
                    <a:pt x="67" y="85"/>
                  </a:lnTo>
                  <a:lnTo>
                    <a:pt x="68" y="83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7"/>
                  </a:lnTo>
                  <a:lnTo>
                    <a:pt x="77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7" y="77"/>
                  </a:lnTo>
                  <a:lnTo>
                    <a:pt x="89" y="78"/>
                  </a:lnTo>
                  <a:lnTo>
                    <a:pt x="91" y="81"/>
                  </a:lnTo>
                  <a:lnTo>
                    <a:pt x="93" y="83"/>
                  </a:lnTo>
                  <a:lnTo>
                    <a:pt x="95" y="85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6" y="509"/>
                  </a:lnTo>
                  <a:lnTo>
                    <a:pt x="96" y="512"/>
                  </a:lnTo>
                  <a:lnTo>
                    <a:pt x="95" y="514"/>
                  </a:lnTo>
                  <a:lnTo>
                    <a:pt x="93" y="517"/>
                  </a:lnTo>
                  <a:lnTo>
                    <a:pt x="91" y="519"/>
                  </a:lnTo>
                  <a:lnTo>
                    <a:pt x="89" y="521"/>
                  </a:lnTo>
                  <a:lnTo>
                    <a:pt x="87" y="522"/>
                  </a:lnTo>
                  <a:lnTo>
                    <a:pt x="84" y="524"/>
                  </a:lnTo>
                  <a:lnTo>
                    <a:pt x="81" y="524"/>
                  </a:lnTo>
                  <a:lnTo>
                    <a:pt x="77" y="524"/>
                  </a:lnTo>
                  <a:lnTo>
                    <a:pt x="75" y="522"/>
                  </a:lnTo>
                  <a:lnTo>
                    <a:pt x="72" y="521"/>
                  </a:lnTo>
                  <a:lnTo>
                    <a:pt x="70" y="519"/>
                  </a:lnTo>
                  <a:lnTo>
                    <a:pt x="68" y="517"/>
                  </a:lnTo>
                  <a:lnTo>
                    <a:pt x="67" y="514"/>
                  </a:lnTo>
                  <a:lnTo>
                    <a:pt x="66" y="512"/>
                  </a:lnTo>
                  <a:lnTo>
                    <a:pt x="66" y="509"/>
                  </a:lnTo>
                  <a:lnTo>
                    <a:pt x="66" y="91"/>
                  </a:lnTo>
                  <a:close/>
                  <a:moveTo>
                    <a:pt x="181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67"/>
                  </a:lnTo>
                  <a:lnTo>
                    <a:pt x="1" y="770"/>
                  </a:lnTo>
                  <a:lnTo>
                    <a:pt x="1" y="773"/>
                  </a:lnTo>
                  <a:lnTo>
                    <a:pt x="3" y="776"/>
                  </a:lnTo>
                  <a:lnTo>
                    <a:pt x="4" y="778"/>
                  </a:lnTo>
                  <a:lnTo>
                    <a:pt x="8" y="780"/>
                  </a:lnTo>
                  <a:lnTo>
                    <a:pt x="10" y="781"/>
                  </a:lnTo>
                  <a:lnTo>
                    <a:pt x="13" y="782"/>
                  </a:lnTo>
                  <a:lnTo>
                    <a:pt x="15" y="782"/>
                  </a:lnTo>
                  <a:lnTo>
                    <a:pt x="181" y="782"/>
                  </a:lnTo>
                  <a:lnTo>
                    <a:pt x="185" y="782"/>
                  </a:lnTo>
                  <a:lnTo>
                    <a:pt x="187" y="781"/>
                  </a:lnTo>
                  <a:lnTo>
                    <a:pt x="190" y="780"/>
                  </a:lnTo>
                  <a:lnTo>
                    <a:pt x="192" y="778"/>
                  </a:lnTo>
                  <a:lnTo>
                    <a:pt x="193" y="776"/>
                  </a:lnTo>
                  <a:lnTo>
                    <a:pt x="195" y="773"/>
                  </a:lnTo>
                  <a:lnTo>
                    <a:pt x="196" y="770"/>
                  </a:lnTo>
                  <a:lnTo>
                    <a:pt x="196" y="767"/>
                  </a:lnTo>
                  <a:lnTo>
                    <a:pt x="196" y="15"/>
                  </a:lnTo>
                  <a:lnTo>
                    <a:pt x="196" y="12"/>
                  </a:lnTo>
                  <a:lnTo>
                    <a:pt x="195" y="9"/>
                  </a:lnTo>
                  <a:lnTo>
                    <a:pt x="193" y="7"/>
                  </a:lnTo>
                  <a:lnTo>
                    <a:pt x="192" y="4"/>
                  </a:lnTo>
                  <a:lnTo>
                    <a:pt x="190" y="2"/>
                  </a:lnTo>
                  <a:lnTo>
                    <a:pt x="187" y="1"/>
                  </a:lnTo>
                  <a:lnTo>
                    <a:pt x="185" y="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643"/>
            <p:cNvSpPr>
              <a:spLocks noEditPoints="1"/>
            </p:cNvSpPr>
            <p:nvPr/>
          </p:nvSpPr>
          <p:spPr bwMode="auto">
            <a:xfrm>
              <a:off x="5600700" y="844550"/>
              <a:ext cx="147638" cy="217488"/>
            </a:xfrm>
            <a:custGeom>
              <a:avLst/>
              <a:gdLst>
                <a:gd name="T0" fmla="*/ 61 w 469"/>
                <a:gd name="T1" fmla="*/ 632 h 684"/>
                <a:gd name="T2" fmla="*/ 53 w 469"/>
                <a:gd name="T3" fmla="*/ 627 h 684"/>
                <a:gd name="T4" fmla="*/ 49 w 469"/>
                <a:gd name="T5" fmla="*/ 620 h 684"/>
                <a:gd name="T6" fmla="*/ 50 w 469"/>
                <a:gd name="T7" fmla="*/ 611 h 684"/>
                <a:gd name="T8" fmla="*/ 55 w 469"/>
                <a:gd name="T9" fmla="*/ 605 h 684"/>
                <a:gd name="T10" fmla="*/ 64 w 469"/>
                <a:gd name="T11" fmla="*/ 602 h 684"/>
                <a:gd name="T12" fmla="*/ 147 w 469"/>
                <a:gd name="T13" fmla="*/ 603 h 684"/>
                <a:gd name="T14" fmla="*/ 154 w 469"/>
                <a:gd name="T15" fmla="*/ 609 h 684"/>
                <a:gd name="T16" fmla="*/ 157 w 469"/>
                <a:gd name="T17" fmla="*/ 617 h 684"/>
                <a:gd name="T18" fmla="*/ 154 w 469"/>
                <a:gd name="T19" fmla="*/ 625 h 684"/>
                <a:gd name="T20" fmla="*/ 147 w 469"/>
                <a:gd name="T21" fmla="*/ 631 h 684"/>
                <a:gd name="T22" fmla="*/ 74 w 469"/>
                <a:gd name="T23" fmla="*/ 252 h 684"/>
                <a:gd name="T24" fmla="*/ 77 w 469"/>
                <a:gd name="T25" fmla="*/ 243 h 684"/>
                <a:gd name="T26" fmla="*/ 83 w 469"/>
                <a:gd name="T27" fmla="*/ 238 h 684"/>
                <a:gd name="T28" fmla="*/ 93 w 469"/>
                <a:gd name="T29" fmla="*/ 237 h 684"/>
                <a:gd name="T30" fmla="*/ 100 w 469"/>
                <a:gd name="T31" fmla="*/ 241 h 684"/>
                <a:gd name="T32" fmla="*/ 104 w 469"/>
                <a:gd name="T33" fmla="*/ 249 h 684"/>
                <a:gd name="T34" fmla="*/ 104 w 469"/>
                <a:gd name="T35" fmla="*/ 542 h 684"/>
                <a:gd name="T36" fmla="*/ 100 w 469"/>
                <a:gd name="T37" fmla="*/ 549 h 684"/>
                <a:gd name="T38" fmla="*/ 93 w 469"/>
                <a:gd name="T39" fmla="*/ 553 h 684"/>
                <a:gd name="T40" fmla="*/ 83 w 469"/>
                <a:gd name="T41" fmla="*/ 553 h 684"/>
                <a:gd name="T42" fmla="*/ 77 w 469"/>
                <a:gd name="T43" fmla="*/ 547 h 684"/>
                <a:gd name="T44" fmla="*/ 74 w 469"/>
                <a:gd name="T45" fmla="*/ 539 h 684"/>
                <a:gd name="T46" fmla="*/ 260 w 469"/>
                <a:gd name="T47" fmla="*/ 11 h 684"/>
                <a:gd name="T48" fmla="*/ 255 w 469"/>
                <a:gd name="T49" fmla="*/ 3 h 684"/>
                <a:gd name="T50" fmla="*/ 247 w 469"/>
                <a:gd name="T51" fmla="*/ 0 h 684"/>
                <a:gd name="T52" fmla="*/ 150 w 469"/>
                <a:gd name="T53" fmla="*/ 33 h 684"/>
                <a:gd name="T54" fmla="*/ 143 w 469"/>
                <a:gd name="T55" fmla="*/ 38 h 684"/>
                <a:gd name="T56" fmla="*/ 140 w 469"/>
                <a:gd name="T57" fmla="*/ 46 h 684"/>
                <a:gd name="T58" fmla="*/ 180 w 469"/>
                <a:gd name="T59" fmla="*/ 170 h 684"/>
                <a:gd name="T60" fmla="*/ 9 w 469"/>
                <a:gd name="T61" fmla="*/ 171 h 684"/>
                <a:gd name="T62" fmla="*/ 3 w 469"/>
                <a:gd name="T63" fmla="*/ 177 h 684"/>
                <a:gd name="T64" fmla="*/ 0 w 469"/>
                <a:gd name="T65" fmla="*/ 185 h 684"/>
                <a:gd name="T66" fmla="*/ 2 w 469"/>
                <a:gd name="T67" fmla="*/ 673 h 684"/>
                <a:gd name="T68" fmla="*/ 7 w 469"/>
                <a:gd name="T69" fmla="*/ 680 h 684"/>
                <a:gd name="T70" fmla="*/ 15 w 469"/>
                <a:gd name="T71" fmla="*/ 682 h 684"/>
                <a:gd name="T72" fmla="*/ 202 w 469"/>
                <a:gd name="T73" fmla="*/ 681 h 684"/>
                <a:gd name="T74" fmla="*/ 209 w 469"/>
                <a:gd name="T75" fmla="*/ 676 h 684"/>
                <a:gd name="T76" fmla="*/ 211 w 469"/>
                <a:gd name="T77" fmla="*/ 667 h 684"/>
                <a:gd name="T78" fmla="*/ 350 w 469"/>
                <a:gd name="T79" fmla="*/ 677 h 684"/>
                <a:gd name="T80" fmla="*/ 357 w 469"/>
                <a:gd name="T81" fmla="*/ 683 h 684"/>
                <a:gd name="T82" fmla="*/ 366 w 469"/>
                <a:gd name="T83" fmla="*/ 684 h 684"/>
                <a:gd name="T84" fmla="*/ 463 w 469"/>
                <a:gd name="T85" fmla="*/ 650 h 684"/>
                <a:gd name="T86" fmla="*/ 468 w 469"/>
                <a:gd name="T87" fmla="*/ 643 h 684"/>
                <a:gd name="T88" fmla="*/ 469 w 469"/>
                <a:gd name="T89" fmla="*/ 63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9" h="684">
                  <a:moveTo>
                    <a:pt x="142" y="632"/>
                  </a:moveTo>
                  <a:lnTo>
                    <a:pt x="64" y="632"/>
                  </a:lnTo>
                  <a:lnTo>
                    <a:pt x="61" y="632"/>
                  </a:lnTo>
                  <a:lnTo>
                    <a:pt x="57" y="631"/>
                  </a:lnTo>
                  <a:lnTo>
                    <a:pt x="55" y="629"/>
                  </a:lnTo>
                  <a:lnTo>
                    <a:pt x="53" y="627"/>
                  </a:lnTo>
                  <a:lnTo>
                    <a:pt x="51" y="625"/>
                  </a:lnTo>
                  <a:lnTo>
                    <a:pt x="50" y="623"/>
                  </a:lnTo>
                  <a:lnTo>
                    <a:pt x="49" y="620"/>
                  </a:lnTo>
                  <a:lnTo>
                    <a:pt x="48" y="617"/>
                  </a:lnTo>
                  <a:lnTo>
                    <a:pt x="49" y="614"/>
                  </a:lnTo>
                  <a:lnTo>
                    <a:pt x="50" y="611"/>
                  </a:lnTo>
                  <a:lnTo>
                    <a:pt x="51" y="609"/>
                  </a:lnTo>
                  <a:lnTo>
                    <a:pt x="53" y="606"/>
                  </a:lnTo>
                  <a:lnTo>
                    <a:pt x="55" y="605"/>
                  </a:lnTo>
                  <a:lnTo>
                    <a:pt x="57" y="603"/>
                  </a:lnTo>
                  <a:lnTo>
                    <a:pt x="61" y="603"/>
                  </a:lnTo>
                  <a:lnTo>
                    <a:pt x="64" y="602"/>
                  </a:lnTo>
                  <a:lnTo>
                    <a:pt x="142" y="602"/>
                  </a:lnTo>
                  <a:lnTo>
                    <a:pt x="144" y="603"/>
                  </a:lnTo>
                  <a:lnTo>
                    <a:pt x="147" y="603"/>
                  </a:lnTo>
                  <a:lnTo>
                    <a:pt x="150" y="605"/>
                  </a:lnTo>
                  <a:lnTo>
                    <a:pt x="152" y="606"/>
                  </a:lnTo>
                  <a:lnTo>
                    <a:pt x="154" y="609"/>
                  </a:lnTo>
                  <a:lnTo>
                    <a:pt x="155" y="611"/>
                  </a:lnTo>
                  <a:lnTo>
                    <a:pt x="156" y="614"/>
                  </a:lnTo>
                  <a:lnTo>
                    <a:pt x="157" y="617"/>
                  </a:lnTo>
                  <a:lnTo>
                    <a:pt x="156" y="620"/>
                  </a:lnTo>
                  <a:lnTo>
                    <a:pt x="155" y="623"/>
                  </a:lnTo>
                  <a:lnTo>
                    <a:pt x="154" y="625"/>
                  </a:lnTo>
                  <a:lnTo>
                    <a:pt x="152" y="627"/>
                  </a:lnTo>
                  <a:lnTo>
                    <a:pt x="150" y="629"/>
                  </a:lnTo>
                  <a:lnTo>
                    <a:pt x="147" y="631"/>
                  </a:lnTo>
                  <a:lnTo>
                    <a:pt x="144" y="632"/>
                  </a:lnTo>
                  <a:lnTo>
                    <a:pt x="142" y="632"/>
                  </a:lnTo>
                  <a:close/>
                  <a:moveTo>
                    <a:pt x="74" y="252"/>
                  </a:moveTo>
                  <a:lnTo>
                    <a:pt x="74" y="249"/>
                  </a:lnTo>
                  <a:lnTo>
                    <a:pt x="76" y="247"/>
                  </a:lnTo>
                  <a:lnTo>
                    <a:pt x="77" y="243"/>
                  </a:lnTo>
                  <a:lnTo>
                    <a:pt x="79" y="241"/>
                  </a:lnTo>
                  <a:lnTo>
                    <a:pt x="81" y="239"/>
                  </a:lnTo>
                  <a:lnTo>
                    <a:pt x="83" y="238"/>
                  </a:lnTo>
                  <a:lnTo>
                    <a:pt x="86" y="237"/>
                  </a:lnTo>
                  <a:lnTo>
                    <a:pt x="89" y="237"/>
                  </a:lnTo>
                  <a:lnTo>
                    <a:pt x="93" y="237"/>
                  </a:lnTo>
                  <a:lnTo>
                    <a:pt x="95" y="238"/>
                  </a:lnTo>
                  <a:lnTo>
                    <a:pt x="98" y="239"/>
                  </a:lnTo>
                  <a:lnTo>
                    <a:pt x="100" y="241"/>
                  </a:lnTo>
                  <a:lnTo>
                    <a:pt x="102" y="243"/>
                  </a:lnTo>
                  <a:lnTo>
                    <a:pt x="103" y="247"/>
                  </a:lnTo>
                  <a:lnTo>
                    <a:pt x="104" y="249"/>
                  </a:lnTo>
                  <a:lnTo>
                    <a:pt x="104" y="252"/>
                  </a:lnTo>
                  <a:lnTo>
                    <a:pt x="104" y="539"/>
                  </a:lnTo>
                  <a:lnTo>
                    <a:pt x="104" y="542"/>
                  </a:lnTo>
                  <a:lnTo>
                    <a:pt x="103" y="545"/>
                  </a:lnTo>
                  <a:lnTo>
                    <a:pt x="102" y="547"/>
                  </a:lnTo>
                  <a:lnTo>
                    <a:pt x="100" y="549"/>
                  </a:lnTo>
                  <a:lnTo>
                    <a:pt x="98" y="551"/>
                  </a:lnTo>
                  <a:lnTo>
                    <a:pt x="95" y="553"/>
                  </a:lnTo>
                  <a:lnTo>
                    <a:pt x="93" y="553"/>
                  </a:lnTo>
                  <a:lnTo>
                    <a:pt x="89" y="554"/>
                  </a:lnTo>
                  <a:lnTo>
                    <a:pt x="86" y="553"/>
                  </a:lnTo>
                  <a:lnTo>
                    <a:pt x="83" y="553"/>
                  </a:lnTo>
                  <a:lnTo>
                    <a:pt x="81" y="551"/>
                  </a:lnTo>
                  <a:lnTo>
                    <a:pt x="79" y="549"/>
                  </a:lnTo>
                  <a:lnTo>
                    <a:pt x="77" y="547"/>
                  </a:lnTo>
                  <a:lnTo>
                    <a:pt x="76" y="545"/>
                  </a:lnTo>
                  <a:lnTo>
                    <a:pt x="74" y="542"/>
                  </a:lnTo>
                  <a:lnTo>
                    <a:pt x="74" y="539"/>
                  </a:lnTo>
                  <a:lnTo>
                    <a:pt x="74" y="252"/>
                  </a:lnTo>
                  <a:close/>
                  <a:moveTo>
                    <a:pt x="469" y="633"/>
                  </a:moveTo>
                  <a:lnTo>
                    <a:pt x="260" y="11"/>
                  </a:lnTo>
                  <a:lnTo>
                    <a:pt x="259" y="7"/>
                  </a:lnTo>
                  <a:lnTo>
                    <a:pt x="257" y="5"/>
                  </a:lnTo>
                  <a:lnTo>
                    <a:pt x="255" y="3"/>
                  </a:lnTo>
                  <a:lnTo>
                    <a:pt x="252" y="2"/>
                  </a:lnTo>
                  <a:lnTo>
                    <a:pt x="249" y="1"/>
                  </a:lnTo>
                  <a:lnTo>
                    <a:pt x="247" y="0"/>
                  </a:lnTo>
                  <a:lnTo>
                    <a:pt x="244" y="0"/>
                  </a:lnTo>
                  <a:lnTo>
                    <a:pt x="241" y="1"/>
                  </a:lnTo>
                  <a:lnTo>
                    <a:pt x="150" y="33"/>
                  </a:lnTo>
                  <a:lnTo>
                    <a:pt x="147" y="34"/>
                  </a:lnTo>
                  <a:lnTo>
                    <a:pt x="144" y="36"/>
                  </a:lnTo>
                  <a:lnTo>
                    <a:pt x="143" y="38"/>
                  </a:lnTo>
                  <a:lnTo>
                    <a:pt x="141" y="41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9"/>
                  </a:lnTo>
                  <a:lnTo>
                    <a:pt x="140" y="52"/>
                  </a:lnTo>
                  <a:lnTo>
                    <a:pt x="180" y="170"/>
                  </a:lnTo>
                  <a:lnTo>
                    <a:pt x="15" y="170"/>
                  </a:lnTo>
                  <a:lnTo>
                    <a:pt x="12" y="171"/>
                  </a:lnTo>
                  <a:lnTo>
                    <a:pt x="9" y="171"/>
                  </a:lnTo>
                  <a:lnTo>
                    <a:pt x="7" y="174"/>
                  </a:lnTo>
                  <a:lnTo>
                    <a:pt x="5" y="175"/>
                  </a:lnTo>
                  <a:lnTo>
                    <a:pt x="3" y="177"/>
                  </a:lnTo>
                  <a:lnTo>
                    <a:pt x="2" y="180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667"/>
                  </a:lnTo>
                  <a:lnTo>
                    <a:pt x="0" y="670"/>
                  </a:lnTo>
                  <a:lnTo>
                    <a:pt x="2" y="673"/>
                  </a:lnTo>
                  <a:lnTo>
                    <a:pt x="3" y="676"/>
                  </a:lnTo>
                  <a:lnTo>
                    <a:pt x="5" y="678"/>
                  </a:lnTo>
                  <a:lnTo>
                    <a:pt x="7" y="680"/>
                  </a:lnTo>
                  <a:lnTo>
                    <a:pt x="9" y="681"/>
                  </a:lnTo>
                  <a:lnTo>
                    <a:pt x="12" y="682"/>
                  </a:lnTo>
                  <a:lnTo>
                    <a:pt x="15" y="682"/>
                  </a:lnTo>
                  <a:lnTo>
                    <a:pt x="196" y="682"/>
                  </a:lnTo>
                  <a:lnTo>
                    <a:pt x="199" y="682"/>
                  </a:lnTo>
                  <a:lnTo>
                    <a:pt x="202" y="681"/>
                  </a:lnTo>
                  <a:lnTo>
                    <a:pt x="204" y="680"/>
                  </a:lnTo>
                  <a:lnTo>
                    <a:pt x="206" y="678"/>
                  </a:lnTo>
                  <a:lnTo>
                    <a:pt x="209" y="676"/>
                  </a:lnTo>
                  <a:lnTo>
                    <a:pt x="210" y="673"/>
                  </a:lnTo>
                  <a:lnTo>
                    <a:pt x="211" y="670"/>
                  </a:lnTo>
                  <a:lnTo>
                    <a:pt x="211" y="667"/>
                  </a:lnTo>
                  <a:lnTo>
                    <a:pt x="211" y="263"/>
                  </a:lnTo>
                  <a:lnTo>
                    <a:pt x="349" y="675"/>
                  </a:lnTo>
                  <a:lnTo>
                    <a:pt x="350" y="677"/>
                  </a:lnTo>
                  <a:lnTo>
                    <a:pt x="352" y="679"/>
                  </a:lnTo>
                  <a:lnTo>
                    <a:pt x="354" y="681"/>
                  </a:lnTo>
                  <a:lnTo>
                    <a:pt x="357" y="683"/>
                  </a:lnTo>
                  <a:lnTo>
                    <a:pt x="360" y="684"/>
                  </a:lnTo>
                  <a:lnTo>
                    <a:pt x="363" y="684"/>
                  </a:lnTo>
                  <a:lnTo>
                    <a:pt x="366" y="684"/>
                  </a:lnTo>
                  <a:lnTo>
                    <a:pt x="368" y="683"/>
                  </a:lnTo>
                  <a:lnTo>
                    <a:pt x="459" y="651"/>
                  </a:lnTo>
                  <a:lnTo>
                    <a:pt x="463" y="650"/>
                  </a:lnTo>
                  <a:lnTo>
                    <a:pt x="465" y="649"/>
                  </a:lnTo>
                  <a:lnTo>
                    <a:pt x="467" y="647"/>
                  </a:lnTo>
                  <a:lnTo>
                    <a:pt x="468" y="643"/>
                  </a:lnTo>
                  <a:lnTo>
                    <a:pt x="469" y="641"/>
                  </a:lnTo>
                  <a:lnTo>
                    <a:pt x="469" y="638"/>
                  </a:lnTo>
                  <a:lnTo>
                    <a:pt x="469" y="635"/>
                  </a:lnTo>
                  <a:lnTo>
                    <a:pt x="469" y="633"/>
                  </a:lnTo>
                  <a:lnTo>
                    <a:pt x="469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644"/>
            <p:cNvSpPr>
              <a:spLocks noEditPoints="1"/>
            </p:cNvSpPr>
            <p:nvPr/>
          </p:nvSpPr>
          <p:spPr bwMode="auto">
            <a:xfrm>
              <a:off x="5465763" y="846138"/>
              <a:ext cx="52388" cy="214313"/>
            </a:xfrm>
            <a:custGeom>
              <a:avLst/>
              <a:gdLst>
                <a:gd name="T0" fmla="*/ 81 w 165"/>
                <a:gd name="T1" fmla="*/ 563 h 677"/>
                <a:gd name="T2" fmla="*/ 79 w 165"/>
                <a:gd name="T3" fmla="*/ 569 h 677"/>
                <a:gd name="T4" fmla="*/ 75 w 165"/>
                <a:gd name="T5" fmla="*/ 572 h 677"/>
                <a:gd name="T6" fmla="*/ 70 w 165"/>
                <a:gd name="T7" fmla="*/ 575 h 677"/>
                <a:gd name="T8" fmla="*/ 64 w 165"/>
                <a:gd name="T9" fmla="*/ 575 h 677"/>
                <a:gd name="T10" fmla="*/ 59 w 165"/>
                <a:gd name="T11" fmla="*/ 572 h 677"/>
                <a:gd name="T12" fmla="*/ 55 w 165"/>
                <a:gd name="T13" fmla="*/ 569 h 677"/>
                <a:gd name="T14" fmla="*/ 53 w 165"/>
                <a:gd name="T15" fmla="*/ 563 h 677"/>
                <a:gd name="T16" fmla="*/ 51 w 165"/>
                <a:gd name="T17" fmla="*/ 116 h 677"/>
                <a:gd name="T18" fmla="*/ 54 w 165"/>
                <a:gd name="T19" fmla="*/ 111 h 677"/>
                <a:gd name="T20" fmla="*/ 57 w 165"/>
                <a:gd name="T21" fmla="*/ 106 h 677"/>
                <a:gd name="T22" fmla="*/ 61 w 165"/>
                <a:gd name="T23" fmla="*/ 103 h 677"/>
                <a:gd name="T24" fmla="*/ 66 w 165"/>
                <a:gd name="T25" fmla="*/ 102 h 677"/>
                <a:gd name="T26" fmla="*/ 73 w 165"/>
                <a:gd name="T27" fmla="*/ 103 h 677"/>
                <a:gd name="T28" fmla="*/ 77 w 165"/>
                <a:gd name="T29" fmla="*/ 106 h 677"/>
                <a:gd name="T30" fmla="*/ 80 w 165"/>
                <a:gd name="T31" fmla="*/ 111 h 677"/>
                <a:gd name="T32" fmla="*/ 83 w 165"/>
                <a:gd name="T33" fmla="*/ 117 h 677"/>
                <a:gd name="T34" fmla="*/ 150 w 165"/>
                <a:gd name="T35" fmla="*/ 0 h 677"/>
                <a:gd name="T36" fmla="*/ 12 w 165"/>
                <a:gd name="T37" fmla="*/ 0 h 677"/>
                <a:gd name="T38" fmla="*/ 6 w 165"/>
                <a:gd name="T39" fmla="*/ 2 h 677"/>
                <a:gd name="T40" fmla="*/ 2 w 165"/>
                <a:gd name="T41" fmla="*/ 7 h 677"/>
                <a:gd name="T42" fmla="*/ 0 w 165"/>
                <a:gd name="T43" fmla="*/ 12 h 677"/>
                <a:gd name="T44" fmla="*/ 0 w 165"/>
                <a:gd name="T45" fmla="*/ 662 h 677"/>
                <a:gd name="T46" fmla="*/ 1 w 165"/>
                <a:gd name="T47" fmla="*/ 668 h 677"/>
                <a:gd name="T48" fmla="*/ 4 w 165"/>
                <a:gd name="T49" fmla="*/ 673 h 677"/>
                <a:gd name="T50" fmla="*/ 9 w 165"/>
                <a:gd name="T51" fmla="*/ 676 h 677"/>
                <a:gd name="T52" fmla="*/ 15 w 165"/>
                <a:gd name="T53" fmla="*/ 677 h 677"/>
                <a:gd name="T54" fmla="*/ 153 w 165"/>
                <a:gd name="T55" fmla="*/ 677 h 677"/>
                <a:gd name="T56" fmla="*/ 159 w 165"/>
                <a:gd name="T57" fmla="*/ 675 h 677"/>
                <a:gd name="T58" fmla="*/ 163 w 165"/>
                <a:gd name="T59" fmla="*/ 671 h 677"/>
                <a:gd name="T60" fmla="*/ 165 w 165"/>
                <a:gd name="T61" fmla="*/ 665 h 677"/>
                <a:gd name="T62" fmla="*/ 165 w 165"/>
                <a:gd name="T63" fmla="*/ 15 h 677"/>
                <a:gd name="T64" fmla="*/ 164 w 165"/>
                <a:gd name="T65" fmla="*/ 9 h 677"/>
                <a:gd name="T66" fmla="*/ 161 w 165"/>
                <a:gd name="T67" fmla="*/ 5 h 677"/>
                <a:gd name="T68" fmla="*/ 157 w 165"/>
                <a:gd name="T69" fmla="*/ 1 h 677"/>
                <a:gd name="T70" fmla="*/ 150 w 165"/>
                <a:gd name="T7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5" h="677">
                  <a:moveTo>
                    <a:pt x="83" y="560"/>
                  </a:moveTo>
                  <a:lnTo>
                    <a:pt x="81" y="563"/>
                  </a:lnTo>
                  <a:lnTo>
                    <a:pt x="80" y="565"/>
                  </a:lnTo>
                  <a:lnTo>
                    <a:pt x="79" y="569"/>
                  </a:lnTo>
                  <a:lnTo>
                    <a:pt x="77" y="571"/>
                  </a:lnTo>
                  <a:lnTo>
                    <a:pt x="75" y="572"/>
                  </a:lnTo>
                  <a:lnTo>
                    <a:pt x="73" y="574"/>
                  </a:lnTo>
                  <a:lnTo>
                    <a:pt x="70" y="575"/>
                  </a:lnTo>
                  <a:lnTo>
                    <a:pt x="66" y="575"/>
                  </a:lnTo>
                  <a:lnTo>
                    <a:pt x="64" y="575"/>
                  </a:lnTo>
                  <a:lnTo>
                    <a:pt x="61" y="574"/>
                  </a:lnTo>
                  <a:lnTo>
                    <a:pt x="59" y="572"/>
                  </a:lnTo>
                  <a:lnTo>
                    <a:pt x="57" y="571"/>
                  </a:lnTo>
                  <a:lnTo>
                    <a:pt x="55" y="569"/>
                  </a:lnTo>
                  <a:lnTo>
                    <a:pt x="54" y="565"/>
                  </a:lnTo>
                  <a:lnTo>
                    <a:pt x="53" y="563"/>
                  </a:lnTo>
                  <a:lnTo>
                    <a:pt x="51" y="560"/>
                  </a:lnTo>
                  <a:lnTo>
                    <a:pt x="51" y="116"/>
                  </a:lnTo>
                  <a:lnTo>
                    <a:pt x="53" y="114"/>
                  </a:lnTo>
                  <a:lnTo>
                    <a:pt x="54" y="111"/>
                  </a:lnTo>
                  <a:lnTo>
                    <a:pt x="55" y="109"/>
                  </a:lnTo>
                  <a:lnTo>
                    <a:pt x="57" y="106"/>
                  </a:lnTo>
                  <a:lnTo>
                    <a:pt x="59" y="104"/>
                  </a:lnTo>
                  <a:lnTo>
                    <a:pt x="61" y="103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70" y="102"/>
                  </a:lnTo>
                  <a:lnTo>
                    <a:pt x="73" y="103"/>
                  </a:lnTo>
                  <a:lnTo>
                    <a:pt x="75" y="104"/>
                  </a:lnTo>
                  <a:lnTo>
                    <a:pt x="77" y="106"/>
                  </a:lnTo>
                  <a:lnTo>
                    <a:pt x="79" y="109"/>
                  </a:lnTo>
                  <a:lnTo>
                    <a:pt x="80" y="111"/>
                  </a:lnTo>
                  <a:lnTo>
                    <a:pt x="81" y="114"/>
                  </a:lnTo>
                  <a:lnTo>
                    <a:pt x="83" y="117"/>
                  </a:lnTo>
                  <a:lnTo>
                    <a:pt x="83" y="560"/>
                  </a:lnTo>
                  <a:close/>
                  <a:moveTo>
                    <a:pt x="150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662"/>
                  </a:lnTo>
                  <a:lnTo>
                    <a:pt x="0" y="665"/>
                  </a:lnTo>
                  <a:lnTo>
                    <a:pt x="1" y="668"/>
                  </a:lnTo>
                  <a:lnTo>
                    <a:pt x="2" y="671"/>
                  </a:lnTo>
                  <a:lnTo>
                    <a:pt x="4" y="673"/>
                  </a:lnTo>
                  <a:lnTo>
                    <a:pt x="6" y="675"/>
                  </a:lnTo>
                  <a:lnTo>
                    <a:pt x="9" y="676"/>
                  </a:lnTo>
                  <a:lnTo>
                    <a:pt x="12" y="677"/>
                  </a:lnTo>
                  <a:lnTo>
                    <a:pt x="15" y="677"/>
                  </a:lnTo>
                  <a:lnTo>
                    <a:pt x="150" y="677"/>
                  </a:lnTo>
                  <a:lnTo>
                    <a:pt x="153" y="677"/>
                  </a:lnTo>
                  <a:lnTo>
                    <a:pt x="157" y="676"/>
                  </a:lnTo>
                  <a:lnTo>
                    <a:pt x="159" y="675"/>
                  </a:lnTo>
                  <a:lnTo>
                    <a:pt x="161" y="673"/>
                  </a:lnTo>
                  <a:lnTo>
                    <a:pt x="163" y="671"/>
                  </a:lnTo>
                  <a:lnTo>
                    <a:pt x="164" y="668"/>
                  </a:lnTo>
                  <a:lnTo>
                    <a:pt x="165" y="665"/>
                  </a:lnTo>
                  <a:lnTo>
                    <a:pt x="165" y="662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61" y="5"/>
                  </a:lnTo>
                  <a:lnTo>
                    <a:pt x="159" y="2"/>
                  </a:lnTo>
                  <a:lnTo>
                    <a:pt x="157" y="1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080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SWOT ANALYSIS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05399" y="1637949"/>
            <a:ext cx="10181203" cy="4225244"/>
            <a:chOff x="1005399" y="1373664"/>
            <a:chExt cx="10181203" cy="4225244"/>
          </a:xfrm>
        </p:grpSpPr>
        <p:grpSp>
          <p:nvGrpSpPr>
            <p:cNvPr id="97" name="Group 96"/>
            <p:cNvGrpSpPr/>
            <p:nvPr/>
          </p:nvGrpSpPr>
          <p:grpSpPr>
            <a:xfrm>
              <a:off x="3978521" y="1373664"/>
              <a:ext cx="4073039" cy="4110671"/>
              <a:chOff x="1525588" y="565151"/>
              <a:chExt cx="5842001" cy="5895975"/>
            </a:xfrm>
          </p:grpSpPr>
          <p:sp>
            <p:nvSpPr>
              <p:cNvPr id="146" name="Freeform 145"/>
              <p:cNvSpPr>
                <a:spLocks/>
              </p:cNvSpPr>
              <p:nvPr/>
            </p:nvSpPr>
            <p:spPr bwMode="auto">
              <a:xfrm>
                <a:off x="1633538" y="565151"/>
                <a:ext cx="2690813" cy="4194175"/>
              </a:xfrm>
              <a:custGeom>
                <a:avLst/>
                <a:gdLst>
                  <a:gd name="T0" fmla="*/ 552 w 716"/>
                  <a:gd name="T1" fmla="*/ 328 h 1116"/>
                  <a:gd name="T2" fmla="*/ 622 w 716"/>
                  <a:gd name="T3" fmla="*/ 346 h 1116"/>
                  <a:gd name="T4" fmla="*/ 681 w 716"/>
                  <a:gd name="T5" fmla="*/ 288 h 1116"/>
                  <a:gd name="T6" fmla="*/ 668 w 716"/>
                  <a:gd name="T7" fmla="*/ 222 h 1116"/>
                  <a:gd name="T8" fmla="*/ 220 w 716"/>
                  <a:gd name="T9" fmla="*/ 124 h 1116"/>
                  <a:gd name="T10" fmla="*/ 62 w 716"/>
                  <a:gd name="T11" fmla="*/ 509 h 1116"/>
                  <a:gd name="T12" fmla="*/ 175 w 716"/>
                  <a:gd name="T13" fmla="*/ 682 h 1116"/>
                  <a:gd name="T14" fmla="*/ 549 w 716"/>
                  <a:gd name="T15" fmla="*/ 1058 h 1116"/>
                  <a:gd name="T16" fmla="*/ 626 w 716"/>
                  <a:gd name="T17" fmla="*/ 1075 h 1116"/>
                  <a:gd name="T18" fmla="*/ 679 w 716"/>
                  <a:gd name="T19" fmla="*/ 1025 h 1116"/>
                  <a:gd name="T20" fmla="*/ 674 w 716"/>
                  <a:gd name="T21" fmla="*/ 961 h 1116"/>
                  <a:gd name="T22" fmla="*/ 253 w 716"/>
                  <a:gd name="T23" fmla="*/ 539 h 1116"/>
                  <a:gd name="T24" fmla="*/ 253 w 716"/>
                  <a:gd name="T25" fmla="*/ 296 h 1116"/>
                  <a:gd name="T26" fmla="*/ 552 w 716"/>
                  <a:gd name="T27" fmla="*/ 328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16" h="1116">
                    <a:moveTo>
                      <a:pt x="552" y="328"/>
                    </a:moveTo>
                    <a:cubicBezTo>
                      <a:pt x="552" y="328"/>
                      <a:pt x="582" y="382"/>
                      <a:pt x="622" y="346"/>
                    </a:cubicBezTo>
                    <a:cubicBezTo>
                      <a:pt x="662" y="309"/>
                      <a:pt x="681" y="288"/>
                      <a:pt x="681" y="288"/>
                    </a:cubicBezTo>
                    <a:cubicBezTo>
                      <a:pt x="681" y="288"/>
                      <a:pt x="716" y="266"/>
                      <a:pt x="668" y="222"/>
                    </a:cubicBezTo>
                    <a:cubicBezTo>
                      <a:pt x="620" y="178"/>
                      <a:pt x="472" y="0"/>
                      <a:pt x="220" y="124"/>
                    </a:cubicBezTo>
                    <a:cubicBezTo>
                      <a:pt x="220" y="124"/>
                      <a:pt x="0" y="248"/>
                      <a:pt x="62" y="509"/>
                    </a:cubicBezTo>
                    <a:cubicBezTo>
                      <a:pt x="62" y="509"/>
                      <a:pt x="85" y="597"/>
                      <a:pt x="175" y="682"/>
                    </a:cubicBezTo>
                    <a:cubicBezTo>
                      <a:pt x="265" y="767"/>
                      <a:pt x="549" y="1058"/>
                      <a:pt x="549" y="1058"/>
                    </a:cubicBezTo>
                    <a:cubicBezTo>
                      <a:pt x="549" y="1058"/>
                      <a:pt x="581" y="1116"/>
                      <a:pt x="626" y="1075"/>
                    </a:cubicBezTo>
                    <a:cubicBezTo>
                      <a:pt x="670" y="1034"/>
                      <a:pt x="679" y="1025"/>
                      <a:pt x="679" y="1025"/>
                    </a:cubicBezTo>
                    <a:cubicBezTo>
                      <a:pt x="679" y="1025"/>
                      <a:pt x="714" y="1000"/>
                      <a:pt x="674" y="961"/>
                    </a:cubicBezTo>
                    <a:cubicBezTo>
                      <a:pt x="635" y="922"/>
                      <a:pt x="253" y="539"/>
                      <a:pt x="253" y="539"/>
                    </a:cubicBezTo>
                    <a:cubicBezTo>
                      <a:pt x="253" y="539"/>
                      <a:pt x="153" y="417"/>
                      <a:pt x="253" y="296"/>
                    </a:cubicBezTo>
                    <a:cubicBezTo>
                      <a:pt x="253" y="296"/>
                      <a:pt x="402" y="150"/>
                      <a:pt x="552" y="328"/>
                    </a:cubicBezTo>
                    <a:close/>
                  </a:path>
                </a:pathLst>
              </a:custGeom>
              <a:solidFill>
                <a:srgbClr val="016AA3"/>
              </a:solidFill>
              <a:ln w="14288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800"/>
              </a:p>
            </p:txBody>
          </p:sp>
          <p:sp>
            <p:nvSpPr>
              <p:cNvPr id="147" name="Freeform 146"/>
              <p:cNvSpPr>
                <a:spLocks/>
              </p:cNvSpPr>
              <p:nvPr/>
            </p:nvSpPr>
            <p:spPr bwMode="auto">
              <a:xfrm>
                <a:off x="3178176" y="681038"/>
                <a:ext cx="4189413" cy="2698750"/>
              </a:xfrm>
              <a:custGeom>
                <a:avLst/>
                <a:gdLst>
                  <a:gd name="T0" fmla="*/ 788 w 1115"/>
                  <a:gd name="T1" fmla="*/ 552 h 718"/>
                  <a:gd name="T2" fmla="*/ 771 w 1115"/>
                  <a:gd name="T3" fmla="*/ 623 h 718"/>
                  <a:gd name="T4" fmla="*/ 828 w 1115"/>
                  <a:gd name="T5" fmla="*/ 681 h 718"/>
                  <a:gd name="T6" fmla="*/ 895 w 1115"/>
                  <a:gd name="T7" fmla="*/ 667 h 718"/>
                  <a:gd name="T8" fmla="*/ 990 w 1115"/>
                  <a:gd name="T9" fmla="*/ 219 h 718"/>
                  <a:gd name="T10" fmla="*/ 604 w 1115"/>
                  <a:gd name="T11" fmla="*/ 64 h 718"/>
                  <a:gd name="T12" fmla="*/ 431 w 1115"/>
                  <a:gd name="T13" fmla="*/ 178 h 718"/>
                  <a:gd name="T14" fmla="*/ 57 w 1115"/>
                  <a:gd name="T15" fmla="*/ 554 h 718"/>
                  <a:gd name="T16" fmla="*/ 41 w 1115"/>
                  <a:gd name="T17" fmla="*/ 631 h 718"/>
                  <a:gd name="T18" fmla="*/ 92 w 1115"/>
                  <a:gd name="T19" fmla="*/ 684 h 718"/>
                  <a:gd name="T20" fmla="*/ 156 w 1115"/>
                  <a:gd name="T21" fmla="*/ 679 h 718"/>
                  <a:gd name="T22" fmla="*/ 575 w 1115"/>
                  <a:gd name="T23" fmla="*/ 255 h 718"/>
                  <a:gd name="T24" fmla="*/ 818 w 1115"/>
                  <a:gd name="T25" fmla="*/ 253 h 718"/>
                  <a:gd name="T26" fmla="*/ 788 w 1115"/>
                  <a:gd name="T27" fmla="*/ 552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15" h="718">
                    <a:moveTo>
                      <a:pt x="788" y="552"/>
                    </a:moveTo>
                    <a:cubicBezTo>
                      <a:pt x="788" y="552"/>
                      <a:pt x="734" y="583"/>
                      <a:pt x="771" y="623"/>
                    </a:cubicBezTo>
                    <a:cubicBezTo>
                      <a:pt x="808" y="663"/>
                      <a:pt x="828" y="681"/>
                      <a:pt x="828" y="681"/>
                    </a:cubicBezTo>
                    <a:cubicBezTo>
                      <a:pt x="828" y="681"/>
                      <a:pt x="851" y="716"/>
                      <a:pt x="895" y="667"/>
                    </a:cubicBezTo>
                    <a:cubicBezTo>
                      <a:pt x="939" y="619"/>
                      <a:pt x="1115" y="471"/>
                      <a:pt x="990" y="219"/>
                    </a:cubicBezTo>
                    <a:cubicBezTo>
                      <a:pt x="990" y="219"/>
                      <a:pt x="864" y="0"/>
                      <a:pt x="604" y="64"/>
                    </a:cubicBezTo>
                    <a:cubicBezTo>
                      <a:pt x="604" y="64"/>
                      <a:pt x="516" y="87"/>
                      <a:pt x="431" y="178"/>
                    </a:cubicBezTo>
                    <a:cubicBezTo>
                      <a:pt x="347" y="268"/>
                      <a:pt x="57" y="554"/>
                      <a:pt x="57" y="554"/>
                    </a:cubicBezTo>
                    <a:cubicBezTo>
                      <a:pt x="57" y="554"/>
                      <a:pt x="0" y="587"/>
                      <a:pt x="41" y="631"/>
                    </a:cubicBezTo>
                    <a:cubicBezTo>
                      <a:pt x="83" y="675"/>
                      <a:pt x="92" y="684"/>
                      <a:pt x="92" y="684"/>
                    </a:cubicBezTo>
                    <a:cubicBezTo>
                      <a:pt x="92" y="684"/>
                      <a:pt x="117" y="718"/>
                      <a:pt x="156" y="679"/>
                    </a:cubicBezTo>
                    <a:cubicBezTo>
                      <a:pt x="195" y="639"/>
                      <a:pt x="575" y="255"/>
                      <a:pt x="575" y="255"/>
                    </a:cubicBezTo>
                    <a:cubicBezTo>
                      <a:pt x="575" y="255"/>
                      <a:pt x="696" y="154"/>
                      <a:pt x="818" y="253"/>
                    </a:cubicBezTo>
                    <a:cubicBezTo>
                      <a:pt x="818" y="253"/>
                      <a:pt x="964" y="402"/>
                      <a:pt x="788" y="552"/>
                    </a:cubicBezTo>
                    <a:close/>
                  </a:path>
                </a:pathLst>
              </a:custGeom>
              <a:solidFill>
                <a:srgbClr val="46B688"/>
              </a:solidFill>
              <a:ln w="14288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800"/>
              </a:p>
            </p:txBody>
          </p:sp>
          <p:sp>
            <p:nvSpPr>
              <p:cNvPr id="148" name="Freeform 147"/>
              <p:cNvSpPr>
                <a:spLocks/>
              </p:cNvSpPr>
              <p:nvPr/>
            </p:nvSpPr>
            <p:spPr bwMode="auto">
              <a:xfrm>
                <a:off x="4591051" y="2266951"/>
                <a:ext cx="2689225" cy="4194175"/>
              </a:xfrm>
              <a:custGeom>
                <a:avLst/>
                <a:gdLst>
                  <a:gd name="T0" fmla="*/ 164 w 716"/>
                  <a:gd name="T1" fmla="*/ 789 h 1116"/>
                  <a:gd name="T2" fmla="*/ 93 w 716"/>
                  <a:gd name="T3" fmla="*/ 771 h 1116"/>
                  <a:gd name="T4" fmla="*/ 35 w 716"/>
                  <a:gd name="T5" fmla="*/ 828 h 1116"/>
                  <a:gd name="T6" fmla="*/ 48 w 716"/>
                  <a:gd name="T7" fmla="*/ 895 h 1116"/>
                  <a:gd name="T8" fmla="*/ 495 w 716"/>
                  <a:gd name="T9" fmla="*/ 993 h 1116"/>
                  <a:gd name="T10" fmla="*/ 653 w 716"/>
                  <a:gd name="T11" fmla="*/ 608 h 1116"/>
                  <a:gd name="T12" fmla="*/ 541 w 716"/>
                  <a:gd name="T13" fmla="*/ 435 h 1116"/>
                  <a:gd name="T14" fmla="*/ 167 w 716"/>
                  <a:gd name="T15" fmla="*/ 58 h 1116"/>
                  <a:gd name="T16" fmla="*/ 90 w 716"/>
                  <a:gd name="T17" fmla="*/ 42 h 1116"/>
                  <a:gd name="T18" fmla="*/ 37 w 716"/>
                  <a:gd name="T19" fmla="*/ 92 h 1116"/>
                  <a:gd name="T20" fmla="*/ 41 w 716"/>
                  <a:gd name="T21" fmla="*/ 156 h 1116"/>
                  <a:gd name="T22" fmla="*/ 463 w 716"/>
                  <a:gd name="T23" fmla="*/ 578 h 1116"/>
                  <a:gd name="T24" fmla="*/ 463 w 716"/>
                  <a:gd name="T25" fmla="*/ 821 h 1116"/>
                  <a:gd name="T26" fmla="*/ 164 w 716"/>
                  <a:gd name="T27" fmla="*/ 789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16" h="1116">
                    <a:moveTo>
                      <a:pt x="164" y="789"/>
                    </a:moveTo>
                    <a:cubicBezTo>
                      <a:pt x="164" y="789"/>
                      <a:pt x="133" y="734"/>
                      <a:pt x="93" y="771"/>
                    </a:cubicBezTo>
                    <a:cubicBezTo>
                      <a:pt x="53" y="808"/>
                      <a:pt x="35" y="828"/>
                      <a:pt x="35" y="828"/>
                    </a:cubicBezTo>
                    <a:cubicBezTo>
                      <a:pt x="35" y="828"/>
                      <a:pt x="0" y="851"/>
                      <a:pt x="48" y="895"/>
                    </a:cubicBezTo>
                    <a:cubicBezTo>
                      <a:pt x="96" y="939"/>
                      <a:pt x="243" y="1116"/>
                      <a:pt x="495" y="993"/>
                    </a:cubicBezTo>
                    <a:cubicBezTo>
                      <a:pt x="495" y="993"/>
                      <a:pt x="716" y="869"/>
                      <a:pt x="653" y="608"/>
                    </a:cubicBezTo>
                    <a:cubicBezTo>
                      <a:pt x="653" y="608"/>
                      <a:pt x="631" y="520"/>
                      <a:pt x="541" y="435"/>
                    </a:cubicBezTo>
                    <a:cubicBezTo>
                      <a:pt x="451" y="350"/>
                      <a:pt x="167" y="58"/>
                      <a:pt x="167" y="58"/>
                    </a:cubicBezTo>
                    <a:cubicBezTo>
                      <a:pt x="167" y="58"/>
                      <a:pt x="135" y="0"/>
                      <a:pt x="90" y="42"/>
                    </a:cubicBezTo>
                    <a:cubicBezTo>
                      <a:pt x="45" y="83"/>
                      <a:pt x="37" y="92"/>
                      <a:pt x="37" y="92"/>
                    </a:cubicBezTo>
                    <a:cubicBezTo>
                      <a:pt x="37" y="92"/>
                      <a:pt x="2" y="116"/>
                      <a:pt x="41" y="156"/>
                    </a:cubicBezTo>
                    <a:cubicBezTo>
                      <a:pt x="81" y="195"/>
                      <a:pt x="463" y="578"/>
                      <a:pt x="463" y="578"/>
                    </a:cubicBezTo>
                    <a:cubicBezTo>
                      <a:pt x="463" y="578"/>
                      <a:pt x="563" y="700"/>
                      <a:pt x="463" y="821"/>
                    </a:cubicBezTo>
                    <a:cubicBezTo>
                      <a:pt x="463" y="821"/>
                      <a:pt x="313" y="966"/>
                      <a:pt x="164" y="789"/>
                    </a:cubicBezTo>
                    <a:close/>
                  </a:path>
                </a:pathLst>
              </a:custGeom>
              <a:solidFill>
                <a:srgbClr val="FEA34F"/>
              </a:solidFill>
              <a:ln w="14288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800"/>
              </a:p>
            </p:txBody>
          </p:sp>
          <p:sp>
            <p:nvSpPr>
              <p:cNvPr id="149" name="Freeform 148"/>
              <p:cNvSpPr>
                <a:spLocks/>
              </p:cNvSpPr>
              <p:nvPr/>
            </p:nvSpPr>
            <p:spPr bwMode="auto">
              <a:xfrm>
                <a:off x="1525588" y="3630613"/>
                <a:ext cx="4192588" cy="2703513"/>
              </a:xfrm>
              <a:custGeom>
                <a:avLst/>
                <a:gdLst>
                  <a:gd name="T0" fmla="*/ 327 w 1116"/>
                  <a:gd name="T1" fmla="*/ 167 h 719"/>
                  <a:gd name="T2" fmla="*/ 345 w 1116"/>
                  <a:gd name="T3" fmla="*/ 96 h 719"/>
                  <a:gd name="T4" fmla="*/ 287 w 1116"/>
                  <a:gd name="T5" fmla="*/ 38 h 719"/>
                  <a:gd name="T6" fmla="*/ 220 w 1116"/>
                  <a:gd name="T7" fmla="*/ 51 h 719"/>
                  <a:gd name="T8" fmla="*/ 125 w 1116"/>
                  <a:gd name="T9" fmla="*/ 499 h 719"/>
                  <a:gd name="T10" fmla="*/ 512 w 1116"/>
                  <a:gd name="T11" fmla="*/ 655 h 719"/>
                  <a:gd name="T12" fmla="*/ 684 w 1116"/>
                  <a:gd name="T13" fmla="*/ 541 h 719"/>
                  <a:gd name="T14" fmla="*/ 1058 w 1116"/>
                  <a:gd name="T15" fmla="*/ 164 h 719"/>
                  <a:gd name="T16" fmla="*/ 1074 w 1116"/>
                  <a:gd name="T17" fmla="*/ 88 h 719"/>
                  <a:gd name="T18" fmla="*/ 1024 w 1116"/>
                  <a:gd name="T19" fmla="*/ 35 h 719"/>
                  <a:gd name="T20" fmla="*/ 960 w 1116"/>
                  <a:gd name="T21" fmla="*/ 40 h 719"/>
                  <a:gd name="T22" fmla="*/ 540 w 1116"/>
                  <a:gd name="T23" fmla="*/ 464 h 719"/>
                  <a:gd name="T24" fmla="*/ 297 w 1116"/>
                  <a:gd name="T25" fmla="*/ 465 h 719"/>
                  <a:gd name="T26" fmla="*/ 327 w 1116"/>
                  <a:gd name="T27" fmla="*/ 167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16" h="719">
                    <a:moveTo>
                      <a:pt x="327" y="167"/>
                    </a:moveTo>
                    <a:cubicBezTo>
                      <a:pt x="327" y="167"/>
                      <a:pt x="382" y="136"/>
                      <a:pt x="345" y="96"/>
                    </a:cubicBezTo>
                    <a:cubicBezTo>
                      <a:pt x="308" y="56"/>
                      <a:pt x="287" y="38"/>
                      <a:pt x="287" y="38"/>
                    </a:cubicBezTo>
                    <a:cubicBezTo>
                      <a:pt x="287" y="38"/>
                      <a:pt x="264" y="3"/>
                      <a:pt x="220" y="51"/>
                    </a:cubicBezTo>
                    <a:cubicBezTo>
                      <a:pt x="177" y="100"/>
                      <a:pt x="0" y="248"/>
                      <a:pt x="125" y="499"/>
                    </a:cubicBezTo>
                    <a:cubicBezTo>
                      <a:pt x="125" y="499"/>
                      <a:pt x="251" y="719"/>
                      <a:pt x="512" y="655"/>
                    </a:cubicBezTo>
                    <a:cubicBezTo>
                      <a:pt x="512" y="655"/>
                      <a:pt x="600" y="631"/>
                      <a:pt x="684" y="541"/>
                    </a:cubicBezTo>
                    <a:cubicBezTo>
                      <a:pt x="768" y="450"/>
                      <a:pt x="1058" y="164"/>
                      <a:pt x="1058" y="164"/>
                    </a:cubicBezTo>
                    <a:cubicBezTo>
                      <a:pt x="1058" y="164"/>
                      <a:pt x="1116" y="132"/>
                      <a:pt x="1074" y="88"/>
                    </a:cubicBezTo>
                    <a:cubicBezTo>
                      <a:pt x="1032" y="43"/>
                      <a:pt x="1024" y="35"/>
                      <a:pt x="1024" y="35"/>
                    </a:cubicBezTo>
                    <a:cubicBezTo>
                      <a:pt x="1024" y="35"/>
                      <a:pt x="999" y="0"/>
                      <a:pt x="960" y="40"/>
                    </a:cubicBezTo>
                    <a:cubicBezTo>
                      <a:pt x="921" y="79"/>
                      <a:pt x="540" y="464"/>
                      <a:pt x="540" y="464"/>
                    </a:cubicBezTo>
                    <a:cubicBezTo>
                      <a:pt x="540" y="464"/>
                      <a:pt x="419" y="565"/>
                      <a:pt x="297" y="465"/>
                    </a:cubicBezTo>
                    <a:cubicBezTo>
                      <a:pt x="297" y="465"/>
                      <a:pt x="151" y="317"/>
                      <a:pt x="327" y="167"/>
                    </a:cubicBezTo>
                    <a:close/>
                  </a:path>
                </a:pathLst>
              </a:custGeom>
              <a:solidFill>
                <a:srgbClr val="AAAAAA"/>
              </a:solidFill>
              <a:ln w="14288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800"/>
              </a:p>
            </p:txBody>
          </p:sp>
        </p:grpSp>
        <p:sp>
          <p:nvSpPr>
            <p:cNvPr id="99" name="TextBox 50"/>
            <p:cNvSpPr txBox="1"/>
            <p:nvPr/>
          </p:nvSpPr>
          <p:spPr>
            <a:xfrm>
              <a:off x="2603581" y="2024900"/>
              <a:ext cx="126174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2000" b="1" dirty="0"/>
                <a:t>STRENGHTS</a:t>
              </a:r>
            </a:p>
          </p:txBody>
        </p:sp>
        <p:sp>
          <p:nvSpPr>
            <p:cNvPr id="100" name="TextBox 48"/>
            <p:cNvSpPr txBox="1"/>
            <p:nvPr/>
          </p:nvSpPr>
          <p:spPr>
            <a:xfrm>
              <a:off x="1005399" y="2385703"/>
              <a:ext cx="2859925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200" dirty="0"/>
                <a:t>Lorem Ipsum is simply dummy text of the printing and typesetting industry. Lorem Ipsum has been the industry's standard dummy text ever since the 1500s.</a:t>
              </a:r>
              <a:endParaRPr lang="en-US" sz="1200" dirty="0"/>
            </a:p>
          </p:txBody>
        </p:sp>
        <p:sp>
          <p:nvSpPr>
            <p:cNvPr id="101" name="TextBox 14"/>
            <p:cNvSpPr txBox="1"/>
            <p:nvPr/>
          </p:nvSpPr>
          <p:spPr>
            <a:xfrm flipH="1">
              <a:off x="8189206" y="2033037"/>
              <a:ext cx="148921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b="1" dirty="0"/>
                <a:t>WEAKNESSES</a:t>
              </a:r>
            </a:p>
          </p:txBody>
        </p:sp>
        <p:sp>
          <p:nvSpPr>
            <p:cNvPr id="102" name="TextBox 15"/>
            <p:cNvSpPr txBox="1"/>
            <p:nvPr/>
          </p:nvSpPr>
          <p:spPr>
            <a:xfrm flipH="1">
              <a:off x="8189204" y="2368296"/>
              <a:ext cx="2851391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/>
                <a:t>Lorem Ipsum is simply dummy text of the printing and typesetting industry. Lorem Ipsum has been the industry's standard dummy text ever since the 1500s.</a:t>
              </a:r>
              <a:endParaRPr lang="en-US" sz="1200" dirty="0"/>
            </a:p>
          </p:txBody>
        </p:sp>
        <p:sp>
          <p:nvSpPr>
            <p:cNvPr id="103" name="TextBox 17"/>
            <p:cNvSpPr txBox="1"/>
            <p:nvPr/>
          </p:nvSpPr>
          <p:spPr>
            <a:xfrm>
              <a:off x="2102686" y="4470531"/>
              <a:ext cx="176263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2000" b="1" dirty="0"/>
                <a:t>OPPORTUNITIES</a:t>
              </a:r>
            </a:p>
          </p:txBody>
        </p:sp>
        <p:sp>
          <p:nvSpPr>
            <p:cNvPr id="104" name="TextBox 18"/>
            <p:cNvSpPr txBox="1"/>
            <p:nvPr/>
          </p:nvSpPr>
          <p:spPr>
            <a:xfrm>
              <a:off x="1005399" y="4860244"/>
              <a:ext cx="2859925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200" dirty="0"/>
                <a:t>Lorem Ipsum is simply dummy text of the printing and typesetting industry. Lorem Ipsum has been the industry's standard dummy text ever since the 1500s.</a:t>
              </a:r>
              <a:endParaRPr lang="en-US" sz="1200" dirty="0"/>
            </a:p>
          </p:txBody>
        </p:sp>
        <p:sp>
          <p:nvSpPr>
            <p:cNvPr id="105" name="TextBox 20"/>
            <p:cNvSpPr txBox="1"/>
            <p:nvPr/>
          </p:nvSpPr>
          <p:spPr>
            <a:xfrm flipH="1">
              <a:off x="8189206" y="4472842"/>
              <a:ext cx="117755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b="1" dirty="0"/>
                <a:t>THREATS</a:t>
              </a:r>
            </a:p>
          </p:txBody>
        </p:sp>
        <p:sp>
          <p:nvSpPr>
            <p:cNvPr id="106" name="TextBox 21"/>
            <p:cNvSpPr txBox="1"/>
            <p:nvPr/>
          </p:nvSpPr>
          <p:spPr>
            <a:xfrm flipH="1">
              <a:off x="8189204" y="4808500"/>
              <a:ext cx="2997398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/>
                <a:t>Lorem Ipsum is simply dummy text of the printing and typesetting industry. Lorem Ipsum has been the industry's standard dummy text ever since the 1500s.</a:t>
              </a:r>
              <a:endParaRPr lang="en-US" sz="1200" dirty="0"/>
            </a:p>
          </p:txBody>
        </p:sp>
        <p:cxnSp>
          <p:nvCxnSpPr>
            <p:cNvPr id="110" name="Straight Connector 109"/>
            <p:cNvCxnSpPr/>
            <p:nvPr/>
          </p:nvCxnSpPr>
          <p:spPr>
            <a:xfrm flipH="1">
              <a:off x="1005399" y="2365386"/>
              <a:ext cx="3344807" cy="0"/>
            </a:xfrm>
            <a:prstGeom prst="line">
              <a:avLst/>
            </a:prstGeom>
            <a:ln>
              <a:solidFill>
                <a:srgbClr val="016AA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 flipH="1">
              <a:off x="1005399" y="4799519"/>
              <a:ext cx="3344807" cy="0"/>
            </a:xfrm>
            <a:prstGeom prst="line">
              <a:avLst/>
            </a:prstGeom>
            <a:ln>
              <a:solidFill>
                <a:srgbClr val="AAAAAA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 flipH="1">
              <a:off x="7679877" y="2365386"/>
              <a:ext cx="3344807" cy="0"/>
            </a:xfrm>
            <a:prstGeom prst="line">
              <a:avLst/>
            </a:prstGeom>
            <a:ln>
              <a:solidFill>
                <a:srgbClr val="46B68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H="1">
              <a:off x="7679877" y="4799519"/>
              <a:ext cx="3344807" cy="0"/>
            </a:xfrm>
            <a:prstGeom prst="line">
              <a:avLst/>
            </a:prstGeom>
            <a:ln>
              <a:solidFill>
                <a:srgbClr val="FEA34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0" name="Group 149"/>
            <p:cNvGrpSpPr/>
            <p:nvPr/>
          </p:nvGrpSpPr>
          <p:grpSpPr>
            <a:xfrm>
              <a:off x="4865070" y="2321034"/>
              <a:ext cx="406200" cy="231154"/>
              <a:chOff x="10453688" y="2085975"/>
              <a:chExt cx="287337" cy="163513"/>
            </a:xfrm>
            <a:solidFill>
              <a:srgbClr val="016AA3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151" name="Freeform 2072"/>
              <p:cNvSpPr>
                <a:spLocks/>
              </p:cNvSpPr>
              <p:nvPr/>
            </p:nvSpPr>
            <p:spPr bwMode="auto">
              <a:xfrm>
                <a:off x="10453688" y="2114550"/>
                <a:ext cx="49213" cy="106363"/>
              </a:xfrm>
              <a:custGeom>
                <a:avLst/>
                <a:gdLst>
                  <a:gd name="T0" fmla="*/ 135 w 151"/>
                  <a:gd name="T1" fmla="*/ 0 h 331"/>
                  <a:gd name="T2" fmla="*/ 90 w 151"/>
                  <a:gd name="T3" fmla="*/ 0 h 331"/>
                  <a:gd name="T4" fmla="*/ 85 w 151"/>
                  <a:gd name="T5" fmla="*/ 0 h 331"/>
                  <a:gd name="T6" fmla="*/ 79 w 151"/>
                  <a:gd name="T7" fmla="*/ 2 h 331"/>
                  <a:gd name="T8" fmla="*/ 74 w 151"/>
                  <a:gd name="T9" fmla="*/ 4 h 331"/>
                  <a:gd name="T10" fmla="*/ 68 w 151"/>
                  <a:gd name="T11" fmla="*/ 5 h 331"/>
                  <a:gd name="T12" fmla="*/ 58 w 151"/>
                  <a:gd name="T13" fmla="*/ 11 h 331"/>
                  <a:gd name="T14" fmla="*/ 50 w 151"/>
                  <a:gd name="T15" fmla="*/ 20 h 331"/>
                  <a:gd name="T16" fmla="*/ 41 w 151"/>
                  <a:gd name="T17" fmla="*/ 28 h 331"/>
                  <a:gd name="T18" fmla="*/ 35 w 151"/>
                  <a:gd name="T19" fmla="*/ 39 h 331"/>
                  <a:gd name="T20" fmla="*/ 34 w 151"/>
                  <a:gd name="T21" fmla="*/ 44 h 331"/>
                  <a:gd name="T22" fmla="*/ 32 w 151"/>
                  <a:gd name="T23" fmla="*/ 49 h 331"/>
                  <a:gd name="T24" fmla="*/ 30 w 151"/>
                  <a:gd name="T25" fmla="*/ 55 h 331"/>
                  <a:gd name="T26" fmla="*/ 30 w 151"/>
                  <a:gd name="T27" fmla="*/ 60 h 331"/>
                  <a:gd name="T28" fmla="*/ 30 w 151"/>
                  <a:gd name="T29" fmla="*/ 151 h 331"/>
                  <a:gd name="T30" fmla="*/ 16 w 151"/>
                  <a:gd name="T31" fmla="*/ 151 h 331"/>
                  <a:gd name="T32" fmla="*/ 10 w 151"/>
                  <a:gd name="T33" fmla="*/ 152 h 331"/>
                  <a:gd name="T34" fmla="*/ 5 w 151"/>
                  <a:gd name="T35" fmla="*/ 155 h 331"/>
                  <a:gd name="T36" fmla="*/ 1 w 151"/>
                  <a:gd name="T37" fmla="*/ 160 h 331"/>
                  <a:gd name="T38" fmla="*/ 0 w 151"/>
                  <a:gd name="T39" fmla="*/ 166 h 331"/>
                  <a:gd name="T40" fmla="*/ 1 w 151"/>
                  <a:gd name="T41" fmla="*/ 171 h 331"/>
                  <a:gd name="T42" fmla="*/ 5 w 151"/>
                  <a:gd name="T43" fmla="*/ 176 h 331"/>
                  <a:gd name="T44" fmla="*/ 10 w 151"/>
                  <a:gd name="T45" fmla="*/ 180 h 331"/>
                  <a:gd name="T46" fmla="*/ 16 w 151"/>
                  <a:gd name="T47" fmla="*/ 181 h 331"/>
                  <a:gd name="T48" fmla="*/ 30 w 151"/>
                  <a:gd name="T49" fmla="*/ 181 h 331"/>
                  <a:gd name="T50" fmla="*/ 30 w 151"/>
                  <a:gd name="T51" fmla="*/ 271 h 331"/>
                  <a:gd name="T52" fmla="*/ 30 w 151"/>
                  <a:gd name="T53" fmla="*/ 276 h 331"/>
                  <a:gd name="T54" fmla="*/ 32 w 151"/>
                  <a:gd name="T55" fmla="*/ 282 h 331"/>
                  <a:gd name="T56" fmla="*/ 34 w 151"/>
                  <a:gd name="T57" fmla="*/ 287 h 331"/>
                  <a:gd name="T58" fmla="*/ 35 w 151"/>
                  <a:gd name="T59" fmla="*/ 293 h 331"/>
                  <a:gd name="T60" fmla="*/ 41 w 151"/>
                  <a:gd name="T61" fmla="*/ 303 h 331"/>
                  <a:gd name="T62" fmla="*/ 50 w 151"/>
                  <a:gd name="T63" fmla="*/ 312 h 331"/>
                  <a:gd name="T64" fmla="*/ 58 w 151"/>
                  <a:gd name="T65" fmla="*/ 320 h 331"/>
                  <a:gd name="T66" fmla="*/ 68 w 151"/>
                  <a:gd name="T67" fmla="*/ 326 h 331"/>
                  <a:gd name="T68" fmla="*/ 74 w 151"/>
                  <a:gd name="T69" fmla="*/ 329 h 331"/>
                  <a:gd name="T70" fmla="*/ 79 w 151"/>
                  <a:gd name="T71" fmla="*/ 330 h 331"/>
                  <a:gd name="T72" fmla="*/ 85 w 151"/>
                  <a:gd name="T73" fmla="*/ 331 h 331"/>
                  <a:gd name="T74" fmla="*/ 90 w 151"/>
                  <a:gd name="T75" fmla="*/ 331 h 331"/>
                  <a:gd name="T76" fmla="*/ 135 w 151"/>
                  <a:gd name="T77" fmla="*/ 331 h 331"/>
                  <a:gd name="T78" fmla="*/ 141 w 151"/>
                  <a:gd name="T79" fmla="*/ 330 h 331"/>
                  <a:gd name="T80" fmla="*/ 146 w 151"/>
                  <a:gd name="T81" fmla="*/ 326 h 331"/>
                  <a:gd name="T82" fmla="*/ 150 w 151"/>
                  <a:gd name="T83" fmla="*/ 322 h 331"/>
                  <a:gd name="T84" fmla="*/ 151 w 151"/>
                  <a:gd name="T85" fmla="*/ 317 h 331"/>
                  <a:gd name="T86" fmla="*/ 151 w 151"/>
                  <a:gd name="T87" fmla="*/ 15 h 331"/>
                  <a:gd name="T88" fmla="*/ 150 w 151"/>
                  <a:gd name="T89" fmla="*/ 10 h 331"/>
                  <a:gd name="T90" fmla="*/ 146 w 151"/>
                  <a:gd name="T91" fmla="*/ 5 h 331"/>
                  <a:gd name="T92" fmla="*/ 141 w 151"/>
                  <a:gd name="T93" fmla="*/ 2 h 331"/>
                  <a:gd name="T94" fmla="*/ 135 w 151"/>
                  <a:gd name="T95" fmla="*/ 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1" h="331">
                    <a:moveTo>
                      <a:pt x="135" y="0"/>
                    </a:moveTo>
                    <a:lnTo>
                      <a:pt x="90" y="0"/>
                    </a:lnTo>
                    <a:lnTo>
                      <a:pt x="85" y="0"/>
                    </a:lnTo>
                    <a:lnTo>
                      <a:pt x="79" y="2"/>
                    </a:lnTo>
                    <a:lnTo>
                      <a:pt x="74" y="4"/>
                    </a:lnTo>
                    <a:lnTo>
                      <a:pt x="68" y="5"/>
                    </a:lnTo>
                    <a:lnTo>
                      <a:pt x="58" y="11"/>
                    </a:lnTo>
                    <a:lnTo>
                      <a:pt x="50" y="20"/>
                    </a:lnTo>
                    <a:lnTo>
                      <a:pt x="41" y="28"/>
                    </a:lnTo>
                    <a:lnTo>
                      <a:pt x="35" y="39"/>
                    </a:lnTo>
                    <a:lnTo>
                      <a:pt x="34" y="44"/>
                    </a:lnTo>
                    <a:lnTo>
                      <a:pt x="32" y="49"/>
                    </a:lnTo>
                    <a:lnTo>
                      <a:pt x="30" y="55"/>
                    </a:lnTo>
                    <a:lnTo>
                      <a:pt x="30" y="60"/>
                    </a:lnTo>
                    <a:lnTo>
                      <a:pt x="30" y="151"/>
                    </a:lnTo>
                    <a:lnTo>
                      <a:pt x="16" y="151"/>
                    </a:lnTo>
                    <a:lnTo>
                      <a:pt x="10" y="152"/>
                    </a:lnTo>
                    <a:lnTo>
                      <a:pt x="5" y="155"/>
                    </a:lnTo>
                    <a:lnTo>
                      <a:pt x="1" y="160"/>
                    </a:lnTo>
                    <a:lnTo>
                      <a:pt x="0" y="166"/>
                    </a:lnTo>
                    <a:lnTo>
                      <a:pt x="1" y="171"/>
                    </a:lnTo>
                    <a:lnTo>
                      <a:pt x="5" y="176"/>
                    </a:lnTo>
                    <a:lnTo>
                      <a:pt x="10" y="180"/>
                    </a:lnTo>
                    <a:lnTo>
                      <a:pt x="16" y="181"/>
                    </a:lnTo>
                    <a:lnTo>
                      <a:pt x="30" y="181"/>
                    </a:lnTo>
                    <a:lnTo>
                      <a:pt x="30" y="271"/>
                    </a:lnTo>
                    <a:lnTo>
                      <a:pt x="30" y="276"/>
                    </a:lnTo>
                    <a:lnTo>
                      <a:pt x="32" y="282"/>
                    </a:lnTo>
                    <a:lnTo>
                      <a:pt x="34" y="287"/>
                    </a:lnTo>
                    <a:lnTo>
                      <a:pt x="35" y="293"/>
                    </a:lnTo>
                    <a:lnTo>
                      <a:pt x="41" y="303"/>
                    </a:lnTo>
                    <a:lnTo>
                      <a:pt x="50" y="312"/>
                    </a:lnTo>
                    <a:lnTo>
                      <a:pt x="58" y="320"/>
                    </a:lnTo>
                    <a:lnTo>
                      <a:pt x="68" y="326"/>
                    </a:lnTo>
                    <a:lnTo>
                      <a:pt x="74" y="329"/>
                    </a:lnTo>
                    <a:lnTo>
                      <a:pt x="79" y="330"/>
                    </a:lnTo>
                    <a:lnTo>
                      <a:pt x="85" y="331"/>
                    </a:lnTo>
                    <a:lnTo>
                      <a:pt x="90" y="331"/>
                    </a:lnTo>
                    <a:lnTo>
                      <a:pt x="135" y="331"/>
                    </a:lnTo>
                    <a:lnTo>
                      <a:pt x="141" y="330"/>
                    </a:lnTo>
                    <a:lnTo>
                      <a:pt x="146" y="326"/>
                    </a:lnTo>
                    <a:lnTo>
                      <a:pt x="150" y="322"/>
                    </a:lnTo>
                    <a:lnTo>
                      <a:pt x="151" y="317"/>
                    </a:lnTo>
                    <a:lnTo>
                      <a:pt x="151" y="15"/>
                    </a:lnTo>
                    <a:lnTo>
                      <a:pt x="150" y="10"/>
                    </a:lnTo>
                    <a:lnTo>
                      <a:pt x="146" y="5"/>
                    </a:lnTo>
                    <a:lnTo>
                      <a:pt x="141" y="2"/>
                    </a:lnTo>
                    <a:lnTo>
                      <a:pt x="1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2073"/>
              <p:cNvSpPr>
                <a:spLocks/>
              </p:cNvSpPr>
              <p:nvPr/>
            </p:nvSpPr>
            <p:spPr bwMode="auto">
              <a:xfrm>
                <a:off x="10512425" y="2085975"/>
                <a:ext cx="171450" cy="163513"/>
              </a:xfrm>
              <a:custGeom>
                <a:avLst/>
                <a:gdLst>
                  <a:gd name="T0" fmla="*/ 421 w 542"/>
                  <a:gd name="T1" fmla="*/ 0 h 512"/>
                  <a:gd name="T2" fmla="*/ 395 w 542"/>
                  <a:gd name="T3" fmla="*/ 4 h 512"/>
                  <a:gd name="T4" fmla="*/ 386 w 542"/>
                  <a:gd name="T5" fmla="*/ 10 h 512"/>
                  <a:gd name="T6" fmla="*/ 377 w 542"/>
                  <a:gd name="T7" fmla="*/ 16 h 512"/>
                  <a:gd name="T8" fmla="*/ 370 w 542"/>
                  <a:gd name="T9" fmla="*/ 24 h 512"/>
                  <a:gd name="T10" fmla="*/ 365 w 542"/>
                  <a:gd name="T11" fmla="*/ 35 h 512"/>
                  <a:gd name="T12" fmla="*/ 361 w 542"/>
                  <a:gd name="T13" fmla="*/ 60 h 512"/>
                  <a:gd name="T14" fmla="*/ 180 w 542"/>
                  <a:gd name="T15" fmla="*/ 241 h 512"/>
                  <a:gd name="T16" fmla="*/ 179 w 542"/>
                  <a:gd name="T17" fmla="*/ 46 h 512"/>
                  <a:gd name="T18" fmla="*/ 174 w 542"/>
                  <a:gd name="T19" fmla="*/ 29 h 512"/>
                  <a:gd name="T20" fmla="*/ 168 w 542"/>
                  <a:gd name="T21" fmla="*/ 20 h 512"/>
                  <a:gd name="T22" fmla="*/ 161 w 542"/>
                  <a:gd name="T23" fmla="*/ 12 h 512"/>
                  <a:gd name="T24" fmla="*/ 151 w 542"/>
                  <a:gd name="T25" fmla="*/ 6 h 512"/>
                  <a:gd name="T26" fmla="*/ 134 w 542"/>
                  <a:gd name="T27" fmla="*/ 1 h 512"/>
                  <a:gd name="T28" fmla="*/ 59 w 542"/>
                  <a:gd name="T29" fmla="*/ 0 h 512"/>
                  <a:gd name="T30" fmla="*/ 35 w 542"/>
                  <a:gd name="T31" fmla="*/ 4 h 512"/>
                  <a:gd name="T32" fmla="*/ 24 w 542"/>
                  <a:gd name="T33" fmla="*/ 10 h 512"/>
                  <a:gd name="T34" fmla="*/ 15 w 542"/>
                  <a:gd name="T35" fmla="*/ 16 h 512"/>
                  <a:gd name="T36" fmla="*/ 9 w 542"/>
                  <a:gd name="T37" fmla="*/ 24 h 512"/>
                  <a:gd name="T38" fmla="*/ 3 w 542"/>
                  <a:gd name="T39" fmla="*/ 35 h 512"/>
                  <a:gd name="T40" fmla="*/ 0 w 542"/>
                  <a:gd name="T41" fmla="*/ 60 h 512"/>
                  <a:gd name="T42" fmla="*/ 1 w 542"/>
                  <a:gd name="T43" fmla="*/ 465 h 512"/>
                  <a:gd name="T44" fmla="*/ 6 w 542"/>
                  <a:gd name="T45" fmla="*/ 482 h 512"/>
                  <a:gd name="T46" fmla="*/ 12 w 542"/>
                  <a:gd name="T47" fmla="*/ 492 h 512"/>
                  <a:gd name="T48" fmla="*/ 19 w 542"/>
                  <a:gd name="T49" fmla="*/ 499 h 512"/>
                  <a:gd name="T50" fmla="*/ 29 w 542"/>
                  <a:gd name="T51" fmla="*/ 506 h 512"/>
                  <a:gd name="T52" fmla="*/ 46 w 542"/>
                  <a:gd name="T53" fmla="*/ 510 h 512"/>
                  <a:gd name="T54" fmla="*/ 120 w 542"/>
                  <a:gd name="T55" fmla="*/ 512 h 512"/>
                  <a:gd name="T56" fmla="*/ 146 w 542"/>
                  <a:gd name="T57" fmla="*/ 508 h 512"/>
                  <a:gd name="T58" fmla="*/ 156 w 542"/>
                  <a:gd name="T59" fmla="*/ 503 h 512"/>
                  <a:gd name="T60" fmla="*/ 164 w 542"/>
                  <a:gd name="T61" fmla="*/ 496 h 512"/>
                  <a:gd name="T62" fmla="*/ 172 w 542"/>
                  <a:gd name="T63" fmla="*/ 487 h 512"/>
                  <a:gd name="T64" fmla="*/ 177 w 542"/>
                  <a:gd name="T65" fmla="*/ 477 h 512"/>
                  <a:gd name="T66" fmla="*/ 180 w 542"/>
                  <a:gd name="T67" fmla="*/ 452 h 512"/>
                  <a:gd name="T68" fmla="*/ 361 w 542"/>
                  <a:gd name="T69" fmla="*/ 271 h 512"/>
                  <a:gd name="T70" fmla="*/ 362 w 542"/>
                  <a:gd name="T71" fmla="*/ 465 h 512"/>
                  <a:gd name="T72" fmla="*/ 367 w 542"/>
                  <a:gd name="T73" fmla="*/ 482 h 512"/>
                  <a:gd name="T74" fmla="*/ 373 w 542"/>
                  <a:gd name="T75" fmla="*/ 492 h 512"/>
                  <a:gd name="T76" fmla="*/ 381 w 542"/>
                  <a:gd name="T77" fmla="*/ 499 h 512"/>
                  <a:gd name="T78" fmla="*/ 390 w 542"/>
                  <a:gd name="T79" fmla="*/ 506 h 512"/>
                  <a:gd name="T80" fmla="*/ 408 w 542"/>
                  <a:gd name="T81" fmla="*/ 510 h 512"/>
                  <a:gd name="T82" fmla="*/ 481 w 542"/>
                  <a:gd name="T83" fmla="*/ 512 h 512"/>
                  <a:gd name="T84" fmla="*/ 506 w 542"/>
                  <a:gd name="T85" fmla="*/ 508 h 512"/>
                  <a:gd name="T86" fmla="*/ 517 w 542"/>
                  <a:gd name="T87" fmla="*/ 503 h 512"/>
                  <a:gd name="T88" fmla="*/ 526 w 542"/>
                  <a:gd name="T89" fmla="*/ 496 h 512"/>
                  <a:gd name="T90" fmla="*/ 532 w 542"/>
                  <a:gd name="T91" fmla="*/ 487 h 512"/>
                  <a:gd name="T92" fmla="*/ 537 w 542"/>
                  <a:gd name="T93" fmla="*/ 477 h 512"/>
                  <a:gd name="T94" fmla="*/ 542 w 542"/>
                  <a:gd name="T95" fmla="*/ 452 h 512"/>
                  <a:gd name="T96" fmla="*/ 541 w 542"/>
                  <a:gd name="T97" fmla="*/ 46 h 512"/>
                  <a:gd name="T98" fmla="*/ 535 w 542"/>
                  <a:gd name="T99" fmla="*/ 29 h 512"/>
                  <a:gd name="T100" fmla="*/ 530 w 542"/>
                  <a:gd name="T101" fmla="*/ 20 h 512"/>
                  <a:gd name="T102" fmla="*/ 521 w 542"/>
                  <a:gd name="T103" fmla="*/ 12 h 512"/>
                  <a:gd name="T104" fmla="*/ 513 w 542"/>
                  <a:gd name="T105" fmla="*/ 6 h 512"/>
                  <a:gd name="T106" fmla="*/ 494 w 542"/>
                  <a:gd name="T107" fmla="*/ 1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42" h="512">
                    <a:moveTo>
                      <a:pt x="481" y="0"/>
                    </a:moveTo>
                    <a:lnTo>
                      <a:pt x="421" y="0"/>
                    </a:lnTo>
                    <a:lnTo>
                      <a:pt x="408" y="1"/>
                    </a:lnTo>
                    <a:lnTo>
                      <a:pt x="395" y="4"/>
                    </a:lnTo>
                    <a:lnTo>
                      <a:pt x="390" y="6"/>
                    </a:lnTo>
                    <a:lnTo>
                      <a:pt x="386" y="10"/>
                    </a:lnTo>
                    <a:lnTo>
                      <a:pt x="381" y="12"/>
                    </a:lnTo>
                    <a:lnTo>
                      <a:pt x="377" y="16"/>
                    </a:lnTo>
                    <a:lnTo>
                      <a:pt x="373" y="20"/>
                    </a:lnTo>
                    <a:lnTo>
                      <a:pt x="370" y="24"/>
                    </a:lnTo>
                    <a:lnTo>
                      <a:pt x="367" y="29"/>
                    </a:lnTo>
                    <a:lnTo>
                      <a:pt x="365" y="35"/>
                    </a:lnTo>
                    <a:lnTo>
                      <a:pt x="362" y="46"/>
                    </a:lnTo>
                    <a:lnTo>
                      <a:pt x="361" y="60"/>
                    </a:lnTo>
                    <a:lnTo>
                      <a:pt x="361" y="241"/>
                    </a:lnTo>
                    <a:lnTo>
                      <a:pt x="180" y="241"/>
                    </a:lnTo>
                    <a:lnTo>
                      <a:pt x="180" y="60"/>
                    </a:lnTo>
                    <a:lnTo>
                      <a:pt x="179" y="46"/>
                    </a:lnTo>
                    <a:lnTo>
                      <a:pt x="177" y="35"/>
                    </a:lnTo>
                    <a:lnTo>
                      <a:pt x="174" y="29"/>
                    </a:lnTo>
                    <a:lnTo>
                      <a:pt x="172" y="24"/>
                    </a:lnTo>
                    <a:lnTo>
                      <a:pt x="168" y="20"/>
                    </a:lnTo>
                    <a:lnTo>
                      <a:pt x="164" y="16"/>
                    </a:lnTo>
                    <a:lnTo>
                      <a:pt x="161" y="12"/>
                    </a:lnTo>
                    <a:lnTo>
                      <a:pt x="156" y="10"/>
                    </a:lnTo>
                    <a:lnTo>
                      <a:pt x="151" y="6"/>
                    </a:lnTo>
                    <a:lnTo>
                      <a:pt x="146" y="4"/>
                    </a:lnTo>
                    <a:lnTo>
                      <a:pt x="134" y="1"/>
                    </a:lnTo>
                    <a:lnTo>
                      <a:pt x="120" y="0"/>
                    </a:lnTo>
                    <a:lnTo>
                      <a:pt x="59" y="0"/>
                    </a:lnTo>
                    <a:lnTo>
                      <a:pt x="46" y="1"/>
                    </a:lnTo>
                    <a:lnTo>
                      <a:pt x="35" y="4"/>
                    </a:lnTo>
                    <a:lnTo>
                      <a:pt x="29" y="6"/>
                    </a:lnTo>
                    <a:lnTo>
                      <a:pt x="24" y="10"/>
                    </a:lnTo>
                    <a:lnTo>
                      <a:pt x="19" y="12"/>
                    </a:lnTo>
                    <a:lnTo>
                      <a:pt x="15" y="16"/>
                    </a:lnTo>
                    <a:lnTo>
                      <a:pt x="12" y="20"/>
                    </a:lnTo>
                    <a:lnTo>
                      <a:pt x="9" y="24"/>
                    </a:lnTo>
                    <a:lnTo>
                      <a:pt x="6" y="29"/>
                    </a:lnTo>
                    <a:lnTo>
                      <a:pt x="3" y="35"/>
                    </a:lnTo>
                    <a:lnTo>
                      <a:pt x="1" y="46"/>
                    </a:lnTo>
                    <a:lnTo>
                      <a:pt x="0" y="60"/>
                    </a:lnTo>
                    <a:lnTo>
                      <a:pt x="0" y="452"/>
                    </a:lnTo>
                    <a:lnTo>
                      <a:pt x="1" y="465"/>
                    </a:lnTo>
                    <a:lnTo>
                      <a:pt x="3" y="477"/>
                    </a:lnTo>
                    <a:lnTo>
                      <a:pt x="6" y="482"/>
                    </a:lnTo>
                    <a:lnTo>
                      <a:pt x="9" y="487"/>
                    </a:lnTo>
                    <a:lnTo>
                      <a:pt x="12" y="492"/>
                    </a:lnTo>
                    <a:lnTo>
                      <a:pt x="15" y="496"/>
                    </a:lnTo>
                    <a:lnTo>
                      <a:pt x="19" y="499"/>
                    </a:lnTo>
                    <a:lnTo>
                      <a:pt x="24" y="503"/>
                    </a:lnTo>
                    <a:lnTo>
                      <a:pt x="29" y="506"/>
                    </a:lnTo>
                    <a:lnTo>
                      <a:pt x="35" y="508"/>
                    </a:lnTo>
                    <a:lnTo>
                      <a:pt x="46" y="510"/>
                    </a:lnTo>
                    <a:lnTo>
                      <a:pt x="59" y="512"/>
                    </a:lnTo>
                    <a:lnTo>
                      <a:pt x="120" y="512"/>
                    </a:lnTo>
                    <a:lnTo>
                      <a:pt x="134" y="510"/>
                    </a:lnTo>
                    <a:lnTo>
                      <a:pt x="146" y="508"/>
                    </a:lnTo>
                    <a:lnTo>
                      <a:pt x="151" y="506"/>
                    </a:lnTo>
                    <a:lnTo>
                      <a:pt x="156" y="503"/>
                    </a:lnTo>
                    <a:lnTo>
                      <a:pt x="161" y="499"/>
                    </a:lnTo>
                    <a:lnTo>
                      <a:pt x="164" y="496"/>
                    </a:lnTo>
                    <a:lnTo>
                      <a:pt x="168" y="492"/>
                    </a:lnTo>
                    <a:lnTo>
                      <a:pt x="172" y="487"/>
                    </a:lnTo>
                    <a:lnTo>
                      <a:pt x="174" y="482"/>
                    </a:lnTo>
                    <a:lnTo>
                      <a:pt x="177" y="477"/>
                    </a:lnTo>
                    <a:lnTo>
                      <a:pt x="179" y="465"/>
                    </a:lnTo>
                    <a:lnTo>
                      <a:pt x="180" y="452"/>
                    </a:lnTo>
                    <a:lnTo>
                      <a:pt x="180" y="271"/>
                    </a:lnTo>
                    <a:lnTo>
                      <a:pt x="361" y="271"/>
                    </a:lnTo>
                    <a:lnTo>
                      <a:pt x="361" y="452"/>
                    </a:lnTo>
                    <a:lnTo>
                      <a:pt x="362" y="465"/>
                    </a:lnTo>
                    <a:lnTo>
                      <a:pt x="365" y="477"/>
                    </a:lnTo>
                    <a:lnTo>
                      <a:pt x="367" y="482"/>
                    </a:lnTo>
                    <a:lnTo>
                      <a:pt x="370" y="487"/>
                    </a:lnTo>
                    <a:lnTo>
                      <a:pt x="373" y="492"/>
                    </a:lnTo>
                    <a:lnTo>
                      <a:pt x="377" y="496"/>
                    </a:lnTo>
                    <a:lnTo>
                      <a:pt x="381" y="499"/>
                    </a:lnTo>
                    <a:lnTo>
                      <a:pt x="386" y="503"/>
                    </a:lnTo>
                    <a:lnTo>
                      <a:pt x="390" y="506"/>
                    </a:lnTo>
                    <a:lnTo>
                      <a:pt x="395" y="508"/>
                    </a:lnTo>
                    <a:lnTo>
                      <a:pt x="408" y="510"/>
                    </a:lnTo>
                    <a:lnTo>
                      <a:pt x="421" y="512"/>
                    </a:lnTo>
                    <a:lnTo>
                      <a:pt x="481" y="512"/>
                    </a:lnTo>
                    <a:lnTo>
                      <a:pt x="494" y="510"/>
                    </a:lnTo>
                    <a:lnTo>
                      <a:pt x="506" y="508"/>
                    </a:lnTo>
                    <a:lnTo>
                      <a:pt x="513" y="506"/>
                    </a:lnTo>
                    <a:lnTo>
                      <a:pt x="517" y="503"/>
                    </a:lnTo>
                    <a:lnTo>
                      <a:pt x="521" y="499"/>
                    </a:lnTo>
                    <a:lnTo>
                      <a:pt x="526" y="496"/>
                    </a:lnTo>
                    <a:lnTo>
                      <a:pt x="530" y="492"/>
                    </a:lnTo>
                    <a:lnTo>
                      <a:pt x="532" y="487"/>
                    </a:lnTo>
                    <a:lnTo>
                      <a:pt x="535" y="482"/>
                    </a:lnTo>
                    <a:lnTo>
                      <a:pt x="537" y="477"/>
                    </a:lnTo>
                    <a:lnTo>
                      <a:pt x="541" y="465"/>
                    </a:lnTo>
                    <a:lnTo>
                      <a:pt x="542" y="452"/>
                    </a:lnTo>
                    <a:lnTo>
                      <a:pt x="542" y="60"/>
                    </a:lnTo>
                    <a:lnTo>
                      <a:pt x="541" y="46"/>
                    </a:lnTo>
                    <a:lnTo>
                      <a:pt x="537" y="35"/>
                    </a:lnTo>
                    <a:lnTo>
                      <a:pt x="535" y="29"/>
                    </a:lnTo>
                    <a:lnTo>
                      <a:pt x="532" y="24"/>
                    </a:lnTo>
                    <a:lnTo>
                      <a:pt x="530" y="20"/>
                    </a:lnTo>
                    <a:lnTo>
                      <a:pt x="526" y="16"/>
                    </a:lnTo>
                    <a:lnTo>
                      <a:pt x="521" y="12"/>
                    </a:lnTo>
                    <a:lnTo>
                      <a:pt x="517" y="10"/>
                    </a:lnTo>
                    <a:lnTo>
                      <a:pt x="513" y="6"/>
                    </a:lnTo>
                    <a:lnTo>
                      <a:pt x="506" y="4"/>
                    </a:lnTo>
                    <a:lnTo>
                      <a:pt x="494" y="1"/>
                    </a:lnTo>
                    <a:lnTo>
                      <a:pt x="48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074"/>
              <p:cNvSpPr>
                <a:spLocks/>
              </p:cNvSpPr>
              <p:nvPr/>
            </p:nvSpPr>
            <p:spPr bwMode="auto">
              <a:xfrm>
                <a:off x="10693400" y="2114550"/>
                <a:ext cx="47625" cy="106363"/>
              </a:xfrm>
              <a:custGeom>
                <a:avLst/>
                <a:gdLst>
                  <a:gd name="T0" fmla="*/ 136 w 150"/>
                  <a:gd name="T1" fmla="*/ 151 h 331"/>
                  <a:gd name="T2" fmla="*/ 121 w 150"/>
                  <a:gd name="T3" fmla="*/ 151 h 331"/>
                  <a:gd name="T4" fmla="*/ 121 w 150"/>
                  <a:gd name="T5" fmla="*/ 60 h 331"/>
                  <a:gd name="T6" fmla="*/ 120 w 150"/>
                  <a:gd name="T7" fmla="*/ 55 h 331"/>
                  <a:gd name="T8" fmla="*/ 120 w 150"/>
                  <a:gd name="T9" fmla="*/ 49 h 331"/>
                  <a:gd name="T10" fmla="*/ 117 w 150"/>
                  <a:gd name="T11" fmla="*/ 44 h 331"/>
                  <a:gd name="T12" fmla="*/ 115 w 150"/>
                  <a:gd name="T13" fmla="*/ 38 h 331"/>
                  <a:gd name="T14" fmla="*/ 109 w 150"/>
                  <a:gd name="T15" fmla="*/ 28 h 331"/>
                  <a:gd name="T16" fmla="*/ 102 w 150"/>
                  <a:gd name="T17" fmla="*/ 20 h 331"/>
                  <a:gd name="T18" fmla="*/ 93 w 150"/>
                  <a:gd name="T19" fmla="*/ 11 h 331"/>
                  <a:gd name="T20" fmla="*/ 82 w 150"/>
                  <a:gd name="T21" fmla="*/ 5 h 331"/>
                  <a:gd name="T22" fmla="*/ 77 w 150"/>
                  <a:gd name="T23" fmla="*/ 4 h 331"/>
                  <a:gd name="T24" fmla="*/ 71 w 150"/>
                  <a:gd name="T25" fmla="*/ 2 h 331"/>
                  <a:gd name="T26" fmla="*/ 66 w 150"/>
                  <a:gd name="T27" fmla="*/ 0 h 331"/>
                  <a:gd name="T28" fmla="*/ 60 w 150"/>
                  <a:gd name="T29" fmla="*/ 0 h 331"/>
                  <a:gd name="T30" fmla="*/ 15 w 150"/>
                  <a:gd name="T31" fmla="*/ 0 h 331"/>
                  <a:gd name="T32" fmla="*/ 10 w 150"/>
                  <a:gd name="T33" fmla="*/ 2 h 331"/>
                  <a:gd name="T34" fmla="*/ 5 w 150"/>
                  <a:gd name="T35" fmla="*/ 5 h 331"/>
                  <a:gd name="T36" fmla="*/ 1 w 150"/>
                  <a:gd name="T37" fmla="*/ 10 h 331"/>
                  <a:gd name="T38" fmla="*/ 0 w 150"/>
                  <a:gd name="T39" fmla="*/ 15 h 331"/>
                  <a:gd name="T40" fmla="*/ 0 w 150"/>
                  <a:gd name="T41" fmla="*/ 317 h 331"/>
                  <a:gd name="T42" fmla="*/ 1 w 150"/>
                  <a:gd name="T43" fmla="*/ 322 h 331"/>
                  <a:gd name="T44" fmla="*/ 5 w 150"/>
                  <a:gd name="T45" fmla="*/ 326 h 331"/>
                  <a:gd name="T46" fmla="*/ 10 w 150"/>
                  <a:gd name="T47" fmla="*/ 330 h 331"/>
                  <a:gd name="T48" fmla="*/ 15 w 150"/>
                  <a:gd name="T49" fmla="*/ 331 h 331"/>
                  <a:gd name="T50" fmla="*/ 60 w 150"/>
                  <a:gd name="T51" fmla="*/ 331 h 331"/>
                  <a:gd name="T52" fmla="*/ 66 w 150"/>
                  <a:gd name="T53" fmla="*/ 331 h 331"/>
                  <a:gd name="T54" fmla="*/ 71 w 150"/>
                  <a:gd name="T55" fmla="*/ 330 h 331"/>
                  <a:gd name="T56" fmla="*/ 77 w 150"/>
                  <a:gd name="T57" fmla="*/ 329 h 331"/>
                  <a:gd name="T58" fmla="*/ 82 w 150"/>
                  <a:gd name="T59" fmla="*/ 326 h 331"/>
                  <a:gd name="T60" fmla="*/ 93 w 150"/>
                  <a:gd name="T61" fmla="*/ 320 h 331"/>
                  <a:gd name="T62" fmla="*/ 102 w 150"/>
                  <a:gd name="T63" fmla="*/ 312 h 331"/>
                  <a:gd name="T64" fmla="*/ 109 w 150"/>
                  <a:gd name="T65" fmla="*/ 303 h 331"/>
                  <a:gd name="T66" fmla="*/ 115 w 150"/>
                  <a:gd name="T67" fmla="*/ 293 h 331"/>
                  <a:gd name="T68" fmla="*/ 117 w 150"/>
                  <a:gd name="T69" fmla="*/ 287 h 331"/>
                  <a:gd name="T70" fmla="*/ 120 w 150"/>
                  <a:gd name="T71" fmla="*/ 282 h 331"/>
                  <a:gd name="T72" fmla="*/ 120 w 150"/>
                  <a:gd name="T73" fmla="*/ 276 h 331"/>
                  <a:gd name="T74" fmla="*/ 121 w 150"/>
                  <a:gd name="T75" fmla="*/ 271 h 331"/>
                  <a:gd name="T76" fmla="*/ 121 w 150"/>
                  <a:gd name="T77" fmla="*/ 181 h 331"/>
                  <a:gd name="T78" fmla="*/ 136 w 150"/>
                  <a:gd name="T79" fmla="*/ 181 h 331"/>
                  <a:gd name="T80" fmla="*/ 142 w 150"/>
                  <a:gd name="T81" fmla="*/ 180 h 331"/>
                  <a:gd name="T82" fmla="*/ 147 w 150"/>
                  <a:gd name="T83" fmla="*/ 176 h 331"/>
                  <a:gd name="T84" fmla="*/ 149 w 150"/>
                  <a:gd name="T85" fmla="*/ 171 h 331"/>
                  <a:gd name="T86" fmla="*/ 150 w 150"/>
                  <a:gd name="T87" fmla="*/ 166 h 331"/>
                  <a:gd name="T88" fmla="*/ 149 w 150"/>
                  <a:gd name="T89" fmla="*/ 160 h 331"/>
                  <a:gd name="T90" fmla="*/ 147 w 150"/>
                  <a:gd name="T91" fmla="*/ 155 h 331"/>
                  <a:gd name="T92" fmla="*/ 142 w 150"/>
                  <a:gd name="T93" fmla="*/ 152 h 331"/>
                  <a:gd name="T94" fmla="*/ 136 w 150"/>
                  <a:gd name="T95" fmla="*/ 151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0" h="331">
                    <a:moveTo>
                      <a:pt x="136" y="151"/>
                    </a:moveTo>
                    <a:lnTo>
                      <a:pt x="121" y="151"/>
                    </a:lnTo>
                    <a:lnTo>
                      <a:pt x="121" y="60"/>
                    </a:lnTo>
                    <a:lnTo>
                      <a:pt x="120" y="55"/>
                    </a:lnTo>
                    <a:lnTo>
                      <a:pt x="120" y="49"/>
                    </a:lnTo>
                    <a:lnTo>
                      <a:pt x="117" y="44"/>
                    </a:lnTo>
                    <a:lnTo>
                      <a:pt x="115" y="38"/>
                    </a:lnTo>
                    <a:lnTo>
                      <a:pt x="109" y="28"/>
                    </a:lnTo>
                    <a:lnTo>
                      <a:pt x="102" y="20"/>
                    </a:lnTo>
                    <a:lnTo>
                      <a:pt x="93" y="11"/>
                    </a:lnTo>
                    <a:lnTo>
                      <a:pt x="82" y="5"/>
                    </a:lnTo>
                    <a:lnTo>
                      <a:pt x="77" y="4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0" y="317"/>
                    </a:lnTo>
                    <a:lnTo>
                      <a:pt x="1" y="322"/>
                    </a:lnTo>
                    <a:lnTo>
                      <a:pt x="5" y="326"/>
                    </a:lnTo>
                    <a:lnTo>
                      <a:pt x="10" y="330"/>
                    </a:lnTo>
                    <a:lnTo>
                      <a:pt x="15" y="331"/>
                    </a:lnTo>
                    <a:lnTo>
                      <a:pt x="60" y="331"/>
                    </a:lnTo>
                    <a:lnTo>
                      <a:pt x="66" y="331"/>
                    </a:lnTo>
                    <a:lnTo>
                      <a:pt x="71" y="330"/>
                    </a:lnTo>
                    <a:lnTo>
                      <a:pt x="77" y="329"/>
                    </a:lnTo>
                    <a:lnTo>
                      <a:pt x="82" y="326"/>
                    </a:lnTo>
                    <a:lnTo>
                      <a:pt x="93" y="320"/>
                    </a:lnTo>
                    <a:lnTo>
                      <a:pt x="102" y="312"/>
                    </a:lnTo>
                    <a:lnTo>
                      <a:pt x="109" y="303"/>
                    </a:lnTo>
                    <a:lnTo>
                      <a:pt x="115" y="293"/>
                    </a:lnTo>
                    <a:lnTo>
                      <a:pt x="117" y="287"/>
                    </a:lnTo>
                    <a:lnTo>
                      <a:pt x="120" y="282"/>
                    </a:lnTo>
                    <a:lnTo>
                      <a:pt x="120" y="276"/>
                    </a:lnTo>
                    <a:lnTo>
                      <a:pt x="121" y="271"/>
                    </a:lnTo>
                    <a:lnTo>
                      <a:pt x="121" y="181"/>
                    </a:lnTo>
                    <a:lnTo>
                      <a:pt x="136" y="181"/>
                    </a:lnTo>
                    <a:lnTo>
                      <a:pt x="142" y="180"/>
                    </a:lnTo>
                    <a:lnTo>
                      <a:pt x="147" y="176"/>
                    </a:lnTo>
                    <a:lnTo>
                      <a:pt x="149" y="171"/>
                    </a:lnTo>
                    <a:lnTo>
                      <a:pt x="150" y="166"/>
                    </a:lnTo>
                    <a:lnTo>
                      <a:pt x="149" y="160"/>
                    </a:lnTo>
                    <a:lnTo>
                      <a:pt x="147" y="155"/>
                    </a:lnTo>
                    <a:lnTo>
                      <a:pt x="142" y="152"/>
                    </a:lnTo>
                    <a:lnTo>
                      <a:pt x="136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>
              <a:off x="6868970" y="2282847"/>
              <a:ext cx="312740" cy="307528"/>
              <a:chOff x="6443663" y="2484438"/>
              <a:chExt cx="285750" cy="280987"/>
            </a:xfrm>
            <a:solidFill>
              <a:srgbClr val="46B688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155" name="Freeform 3837"/>
              <p:cNvSpPr>
                <a:spLocks/>
              </p:cNvSpPr>
              <p:nvPr/>
            </p:nvSpPr>
            <p:spPr bwMode="auto">
              <a:xfrm>
                <a:off x="6486525" y="2498725"/>
                <a:ext cx="42863" cy="42863"/>
              </a:xfrm>
              <a:custGeom>
                <a:avLst/>
                <a:gdLst>
                  <a:gd name="T0" fmla="*/ 84 w 135"/>
                  <a:gd name="T1" fmla="*/ 127 h 136"/>
                  <a:gd name="T2" fmla="*/ 89 w 135"/>
                  <a:gd name="T3" fmla="*/ 130 h 136"/>
                  <a:gd name="T4" fmla="*/ 95 w 135"/>
                  <a:gd name="T5" fmla="*/ 133 h 136"/>
                  <a:gd name="T6" fmla="*/ 100 w 135"/>
                  <a:gd name="T7" fmla="*/ 134 h 136"/>
                  <a:gd name="T8" fmla="*/ 105 w 135"/>
                  <a:gd name="T9" fmla="*/ 136 h 136"/>
                  <a:gd name="T10" fmla="*/ 112 w 135"/>
                  <a:gd name="T11" fmla="*/ 134 h 136"/>
                  <a:gd name="T12" fmla="*/ 117 w 135"/>
                  <a:gd name="T13" fmla="*/ 133 h 136"/>
                  <a:gd name="T14" fmla="*/ 122 w 135"/>
                  <a:gd name="T15" fmla="*/ 130 h 136"/>
                  <a:gd name="T16" fmla="*/ 127 w 135"/>
                  <a:gd name="T17" fmla="*/ 127 h 136"/>
                  <a:gd name="T18" fmla="*/ 131 w 135"/>
                  <a:gd name="T19" fmla="*/ 122 h 136"/>
                  <a:gd name="T20" fmla="*/ 133 w 135"/>
                  <a:gd name="T21" fmla="*/ 116 h 136"/>
                  <a:gd name="T22" fmla="*/ 135 w 135"/>
                  <a:gd name="T23" fmla="*/ 111 h 136"/>
                  <a:gd name="T24" fmla="*/ 135 w 135"/>
                  <a:gd name="T25" fmla="*/ 106 h 136"/>
                  <a:gd name="T26" fmla="*/ 135 w 135"/>
                  <a:gd name="T27" fmla="*/ 100 h 136"/>
                  <a:gd name="T28" fmla="*/ 133 w 135"/>
                  <a:gd name="T29" fmla="*/ 94 h 136"/>
                  <a:gd name="T30" fmla="*/ 131 w 135"/>
                  <a:gd name="T31" fmla="*/ 89 h 136"/>
                  <a:gd name="T32" fmla="*/ 127 w 135"/>
                  <a:gd name="T33" fmla="*/ 84 h 136"/>
                  <a:gd name="T34" fmla="*/ 52 w 135"/>
                  <a:gd name="T35" fmla="*/ 9 h 136"/>
                  <a:gd name="T36" fmla="*/ 47 w 135"/>
                  <a:gd name="T37" fmla="*/ 5 h 136"/>
                  <a:gd name="T38" fmla="*/ 42 w 135"/>
                  <a:gd name="T39" fmla="*/ 3 h 136"/>
                  <a:gd name="T40" fmla="*/ 36 w 135"/>
                  <a:gd name="T41" fmla="*/ 0 h 136"/>
                  <a:gd name="T42" fmla="*/ 30 w 135"/>
                  <a:gd name="T43" fmla="*/ 0 h 136"/>
                  <a:gd name="T44" fmla="*/ 25 w 135"/>
                  <a:gd name="T45" fmla="*/ 0 h 136"/>
                  <a:gd name="T46" fmla="*/ 19 w 135"/>
                  <a:gd name="T47" fmla="*/ 3 h 136"/>
                  <a:gd name="T48" fmla="*/ 14 w 135"/>
                  <a:gd name="T49" fmla="*/ 5 h 136"/>
                  <a:gd name="T50" fmla="*/ 9 w 135"/>
                  <a:gd name="T51" fmla="*/ 9 h 136"/>
                  <a:gd name="T52" fmla="*/ 6 w 135"/>
                  <a:gd name="T53" fmla="*/ 13 h 136"/>
                  <a:gd name="T54" fmla="*/ 2 w 135"/>
                  <a:gd name="T55" fmla="*/ 19 h 136"/>
                  <a:gd name="T56" fmla="*/ 1 w 135"/>
                  <a:gd name="T57" fmla="*/ 25 h 136"/>
                  <a:gd name="T58" fmla="*/ 0 w 135"/>
                  <a:gd name="T59" fmla="*/ 30 h 136"/>
                  <a:gd name="T60" fmla="*/ 1 w 135"/>
                  <a:gd name="T61" fmla="*/ 36 h 136"/>
                  <a:gd name="T62" fmla="*/ 2 w 135"/>
                  <a:gd name="T63" fmla="*/ 41 h 136"/>
                  <a:gd name="T64" fmla="*/ 6 w 135"/>
                  <a:gd name="T65" fmla="*/ 47 h 136"/>
                  <a:gd name="T66" fmla="*/ 9 w 135"/>
                  <a:gd name="T67" fmla="*/ 52 h 136"/>
                  <a:gd name="T68" fmla="*/ 84 w 135"/>
                  <a:gd name="T69" fmla="*/ 127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5" h="136">
                    <a:moveTo>
                      <a:pt x="84" y="127"/>
                    </a:moveTo>
                    <a:lnTo>
                      <a:pt x="89" y="130"/>
                    </a:lnTo>
                    <a:lnTo>
                      <a:pt x="95" y="133"/>
                    </a:lnTo>
                    <a:lnTo>
                      <a:pt x="100" y="134"/>
                    </a:lnTo>
                    <a:lnTo>
                      <a:pt x="105" y="136"/>
                    </a:lnTo>
                    <a:lnTo>
                      <a:pt x="112" y="134"/>
                    </a:lnTo>
                    <a:lnTo>
                      <a:pt x="117" y="133"/>
                    </a:lnTo>
                    <a:lnTo>
                      <a:pt x="122" y="130"/>
                    </a:lnTo>
                    <a:lnTo>
                      <a:pt x="127" y="127"/>
                    </a:lnTo>
                    <a:lnTo>
                      <a:pt x="131" y="122"/>
                    </a:lnTo>
                    <a:lnTo>
                      <a:pt x="133" y="116"/>
                    </a:lnTo>
                    <a:lnTo>
                      <a:pt x="135" y="111"/>
                    </a:lnTo>
                    <a:lnTo>
                      <a:pt x="135" y="106"/>
                    </a:lnTo>
                    <a:lnTo>
                      <a:pt x="135" y="100"/>
                    </a:lnTo>
                    <a:lnTo>
                      <a:pt x="133" y="94"/>
                    </a:lnTo>
                    <a:lnTo>
                      <a:pt x="131" y="89"/>
                    </a:lnTo>
                    <a:lnTo>
                      <a:pt x="127" y="84"/>
                    </a:lnTo>
                    <a:lnTo>
                      <a:pt x="52" y="9"/>
                    </a:lnTo>
                    <a:lnTo>
                      <a:pt x="47" y="5"/>
                    </a:lnTo>
                    <a:lnTo>
                      <a:pt x="42" y="3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9" y="9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1" y="25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9" y="52"/>
                    </a:lnTo>
                    <a:lnTo>
                      <a:pt x="84" y="1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3838"/>
              <p:cNvSpPr>
                <a:spLocks/>
              </p:cNvSpPr>
              <p:nvPr/>
            </p:nvSpPr>
            <p:spPr bwMode="auto">
              <a:xfrm>
                <a:off x="6543675" y="2484438"/>
                <a:ext cx="19050" cy="47625"/>
              </a:xfrm>
              <a:custGeom>
                <a:avLst/>
                <a:gdLst>
                  <a:gd name="T0" fmla="*/ 30 w 60"/>
                  <a:gd name="T1" fmla="*/ 151 h 151"/>
                  <a:gd name="T2" fmla="*/ 37 w 60"/>
                  <a:gd name="T3" fmla="*/ 149 h 151"/>
                  <a:gd name="T4" fmla="*/ 42 w 60"/>
                  <a:gd name="T5" fmla="*/ 148 h 151"/>
                  <a:gd name="T6" fmla="*/ 48 w 60"/>
                  <a:gd name="T7" fmla="*/ 145 h 151"/>
                  <a:gd name="T8" fmla="*/ 52 w 60"/>
                  <a:gd name="T9" fmla="*/ 142 h 151"/>
                  <a:gd name="T10" fmla="*/ 55 w 60"/>
                  <a:gd name="T11" fmla="*/ 138 h 151"/>
                  <a:gd name="T12" fmla="*/ 58 w 60"/>
                  <a:gd name="T13" fmla="*/ 132 h 151"/>
                  <a:gd name="T14" fmla="*/ 60 w 60"/>
                  <a:gd name="T15" fmla="*/ 127 h 151"/>
                  <a:gd name="T16" fmla="*/ 60 w 60"/>
                  <a:gd name="T17" fmla="*/ 120 h 151"/>
                  <a:gd name="T18" fmla="*/ 60 w 60"/>
                  <a:gd name="T19" fmla="*/ 30 h 151"/>
                  <a:gd name="T20" fmla="*/ 60 w 60"/>
                  <a:gd name="T21" fmla="*/ 24 h 151"/>
                  <a:gd name="T22" fmla="*/ 58 w 60"/>
                  <a:gd name="T23" fmla="*/ 19 h 151"/>
                  <a:gd name="T24" fmla="*/ 55 w 60"/>
                  <a:gd name="T25" fmla="*/ 13 h 151"/>
                  <a:gd name="T26" fmla="*/ 52 w 60"/>
                  <a:gd name="T27" fmla="*/ 9 h 151"/>
                  <a:gd name="T28" fmla="*/ 48 w 60"/>
                  <a:gd name="T29" fmla="*/ 6 h 151"/>
                  <a:gd name="T30" fmla="*/ 42 w 60"/>
                  <a:gd name="T31" fmla="*/ 3 h 151"/>
                  <a:gd name="T32" fmla="*/ 37 w 60"/>
                  <a:gd name="T33" fmla="*/ 0 h 151"/>
                  <a:gd name="T34" fmla="*/ 30 w 60"/>
                  <a:gd name="T35" fmla="*/ 0 h 151"/>
                  <a:gd name="T36" fmla="*/ 25 w 60"/>
                  <a:gd name="T37" fmla="*/ 0 h 151"/>
                  <a:gd name="T38" fmla="*/ 19 w 60"/>
                  <a:gd name="T39" fmla="*/ 3 h 151"/>
                  <a:gd name="T40" fmla="*/ 14 w 60"/>
                  <a:gd name="T41" fmla="*/ 6 h 151"/>
                  <a:gd name="T42" fmla="*/ 9 w 60"/>
                  <a:gd name="T43" fmla="*/ 9 h 151"/>
                  <a:gd name="T44" fmla="*/ 6 w 60"/>
                  <a:gd name="T45" fmla="*/ 13 h 151"/>
                  <a:gd name="T46" fmla="*/ 2 w 60"/>
                  <a:gd name="T47" fmla="*/ 19 h 151"/>
                  <a:gd name="T48" fmla="*/ 1 w 60"/>
                  <a:gd name="T49" fmla="*/ 24 h 151"/>
                  <a:gd name="T50" fmla="*/ 0 w 60"/>
                  <a:gd name="T51" fmla="*/ 30 h 151"/>
                  <a:gd name="T52" fmla="*/ 0 w 60"/>
                  <a:gd name="T53" fmla="*/ 120 h 151"/>
                  <a:gd name="T54" fmla="*/ 1 w 60"/>
                  <a:gd name="T55" fmla="*/ 127 h 151"/>
                  <a:gd name="T56" fmla="*/ 2 w 60"/>
                  <a:gd name="T57" fmla="*/ 132 h 151"/>
                  <a:gd name="T58" fmla="*/ 6 w 60"/>
                  <a:gd name="T59" fmla="*/ 138 h 151"/>
                  <a:gd name="T60" fmla="*/ 9 w 60"/>
                  <a:gd name="T61" fmla="*/ 142 h 151"/>
                  <a:gd name="T62" fmla="*/ 14 w 60"/>
                  <a:gd name="T63" fmla="*/ 145 h 151"/>
                  <a:gd name="T64" fmla="*/ 19 w 60"/>
                  <a:gd name="T65" fmla="*/ 148 h 151"/>
                  <a:gd name="T66" fmla="*/ 25 w 60"/>
                  <a:gd name="T67" fmla="*/ 149 h 151"/>
                  <a:gd name="T68" fmla="*/ 30 w 60"/>
                  <a:gd name="T69" fmla="*/ 151 h 151"/>
                  <a:gd name="T70" fmla="*/ 30 w 60"/>
                  <a:gd name="T71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151">
                    <a:moveTo>
                      <a:pt x="30" y="151"/>
                    </a:moveTo>
                    <a:lnTo>
                      <a:pt x="37" y="149"/>
                    </a:lnTo>
                    <a:lnTo>
                      <a:pt x="42" y="148"/>
                    </a:lnTo>
                    <a:lnTo>
                      <a:pt x="48" y="145"/>
                    </a:lnTo>
                    <a:lnTo>
                      <a:pt x="52" y="142"/>
                    </a:lnTo>
                    <a:lnTo>
                      <a:pt x="55" y="138"/>
                    </a:lnTo>
                    <a:lnTo>
                      <a:pt x="58" y="132"/>
                    </a:lnTo>
                    <a:lnTo>
                      <a:pt x="60" y="127"/>
                    </a:lnTo>
                    <a:lnTo>
                      <a:pt x="60" y="120"/>
                    </a:lnTo>
                    <a:lnTo>
                      <a:pt x="60" y="30"/>
                    </a:lnTo>
                    <a:lnTo>
                      <a:pt x="60" y="24"/>
                    </a:lnTo>
                    <a:lnTo>
                      <a:pt x="58" y="19"/>
                    </a:lnTo>
                    <a:lnTo>
                      <a:pt x="55" y="13"/>
                    </a:lnTo>
                    <a:lnTo>
                      <a:pt x="52" y="9"/>
                    </a:lnTo>
                    <a:lnTo>
                      <a:pt x="48" y="6"/>
                    </a:lnTo>
                    <a:lnTo>
                      <a:pt x="42" y="3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9" y="9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1" y="24"/>
                    </a:lnTo>
                    <a:lnTo>
                      <a:pt x="0" y="3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2" y="132"/>
                    </a:lnTo>
                    <a:lnTo>
                      <a:pt x="6" y="138"/>
                    </a:lnTo>
                    <a:lnTo>
                      <a:pt x="9" y="142"/>
                    </a:lnTo>
                    <a:lnTo>
                      <a:pt x="14" y="145"/>
                    </a:lnTo>
                    <a:lnTo>
                      <a:pt x="19" y="148"/>
                    </a:lnTo>
                    <a:lnTo>
                      <a:pt x="25" y="149"/>
                    </a:lnTo>
                    <a:lnTo>
                      <a:pt x="30" y="151"/>
                    </a:lnTo>
                    <a:lnTo>
                      <a:pt x="30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3839"/>
              <p:cNvSpPr>
                <a:spLocks/>
              </p:cNvSpPr>
              <p:nvPr/>
            </p:nvSpPr>
            <p:spPr bwMode="auto">
              <a:xfrm>
                <a:off x="6467475" y="2555875"/>
                <a:ext cx="47625" cy="19050"/>
              </a:xfrm>
              <a:custGeom>
                <a:avLst/>
                <a:gdLst>
                  <a:gd name="T0" fmla="*/ 30 w 150"/>
                  <a:gd name="T1" fmla="*/ 60 h 60"/>
                  <a:gd name="T2" fmla="*/ 120 w 150"/>
                  <a:gd name="T3" fmla="*/ 60 h 60"/>
                  <a:gd name="T4" fmla="*/ 127 w 150"/>
                  <a:gd name="T5" fmla="*/ 59 h 60"/>
                  <a:gd name="T6" fmla="*/ 132 w 150"/>
                  <a:gd name="T7" fmla="*/ 57 h 60"/>
                  <a:gd name="T8" fmla="*/ 137 w 150"/>
                  <a:gd name="T9" fmla="*/ 54 h 60"/>
                  <a:gd name="T10" fmla="*/ 142 w 150"/>
                  <a:gd name="T11" fmla="*/ 51 h 60"/>
                  <a:gd name="T12" fmla="*/ 145 w 150"/>
                  <a:gd name="T13" fmla="*/ 47 h 60"/>
                  <a:gd name="T14" fmla="*/ 148 w 150"/>
                  <a:gd name="T15" fmla="*/ 41 h 60"/>
                  <a:gd name="T16" fmla="*/ 150 w 150"/>
                  <a:gd name="T17" fmla="*/ 36 h 60"/>
                  <a:gd name="T18" fmla="*/ 150 w 150"/>
                  <a:gd name="T19" fmla="*/ 30 h 60"/>
                  <a:gd name="T20" fmla="*/ 150 w 150"/>
                  <a:gd name="T21" fmla="*/ 23 h 60"/>
                  <a:gd name="T22" fmla="*/ 148 w 150"/>
                  <a:gd name="T23" fmla="*/ 18 h 60"/>
                  <a:gd name="T24" fmla="*/ 145 w 150"/>
                  <a:gd name="T25" fmla="*/ 12 h 60"/>
                  <a:gd name="T26" fmla="*/ 142 w 150"/>
                  <a:gd name="T27" fmla="*/ 8 h 60"/>
                  <a:gd name="T28" fmla="*/ 137 w 150"/>
                  <a:gd name="T29" fmla="*/ 5 h 60"/>
                  <a:gd name="T30" fmla="*/ 132 w 150"/>
                  <a:gd name="T31" fmla="*/ 2 h 60"/>
                  <a:gd name="T32" fmla="*/ 127 w 150"/>
                  <a:gd name="T33" fmla="*/ 1 h 60"/>
                  <a:gd name="T34" fmla="*/ 120 w 150"/>
                  <a:gd name="T35" fmla="*/ 0 h 60"/>
                  <a:gd name="T36" fmla="*/ 30 w 150"/>
                  <a:gd name="T37" fmla="*/ 0 h 60"/>
                  <a:gd name="T38" fmla="*/ 24 w 150"/>
                  <a:gd name="T39" fmla="*/ 1 h 60"/>
                  <a:gd name="T40" fmla="*/ 18 w 150"/>
                  <a:gd name="T41" fmla="*/ 2 h 60"/>
                  <a:gd name="T42" fmla="*/ 13 w 150"/>
                  <a:gd name="T43" fmla="*/ 5 h 60"/>
                  <a:gd name="T44" fmla="*/ 9 w 150"/>
                  <a:gd name="T45" fmla="*/ 8 h 60"/>
                  <a:gd name="T46" fmla="*/ 5 w 150"/>
                  <a:gd name="T47" fmla="*/ 12 h 60"/>
                  <a:gd name="T48" fmla="*/ 2 w 150"/>
                  <a:gd name="T49" fmla="*/ 18 h 60"/>
                  <a:gd name="T50" fmla="*/ 1 w 150"/>
                  <a:gd name="T51" fmla="*/ 23 h 60"/>
                  <a:gd name="T52" fmla="*/ 0 w 150"/>
                  <a:gd name="T53" fmla="*/ 30 h 60"/>
                  <a:gd name="T54" fmla="*/ 1 w 150"/>
                  <a:gd name="T55" fmla="*/ 36 h 60"/>
                  <a:gd name="T56" fmla="*/ 2 w 150"/>
                  <a:gd name="T57" fmla="*/ 41 h 60"/>
                  <a:gd name="T58" fmla="*/ 5 w 150"/>
                  <a:gd name="T59" fmla="*/ 47 h 60"/>
                  <a:gd name="T60" fmla="*/ 9 w 150"/>
                  <a:gd name="T61" fmla="*/ 51 h 60"/>
                  <a:gd name="T62" fmla="*/ 13 w 150"/>
                  <a:gd name="T63" fmla="*/ 54 h 60"/>
                  <a:gd name="T64" fmla="*/ 18 w 150"/>
                  <a:gd name="T65" fmla="*/ 57 h 60"/>
                  <a:gd name="T66" fmla="*/ 24 w 150"/>
                  <a:gd name="T67" fmla="*/ 59 h 60"/>
                  <a:gd name="T68" fmla="*/ 30 w 150"/>
                  <a:gd name="T69" fmla="*/ 60 h 60"/>
                  <a:gd name="T70" fmla="*/ 30 w 150"/>
                  <a:gd name="T7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0" h="60">
                    <a:moveTo>
                      <a:pt x="30" y="60"/>
                    </a:moveTo>
                    <a:lnTo>
                      <a:pt x="120" y="60"/>
                    </a:lnTo>
                    <a:lnTo>
                      <a:pt x="127" y="59"/>
                    </a:lnTo>
                    <a:lnTo>
                      <a:pt x="132" y="57"/>
                    </a:lnTo>
                    <a:lnTo>
                      <a:pt x="137" y="54"/>
                    </a:lnTo>
                    <a:lnTo>
                      <a:pt x="142" y="51"/>
                    </a:lnTo>
                    <a:lnTo>
                      <a:pt x="145" y="47"/>
                    </a:lnTo>
                    <a:lnTo>
                      <a:pt x="148" y="41"/>
                    </a:lnTo>
                    <a:lnTo>
                      <a:pt x="150" y="36"/>
                    </a:lnTo>
                    <a:lnTo>
                      <a:pt x="150" y="30"/>
                    </a:lnTo>
                    <a:lnTo>
                      <a:pt x="150" y="23"/>
                    </a:lnTo>
                    <a:lnTo>
                      <a:pt x="148" y="18"/>
                    </a:lnTo>
                    <a:lnTo>
                      <a:pt x="145" y="12"/>
                    </a:lnTo>
                    <a:lnTo>
                      <a:pt x="142" y="8"/>
                    </a:lnTo>
                    <a:lnTo>
                      <a:pt x="137" y="5"/>
                    </a:lnTo>
                    <a:lnTo>
                      <a:pt x="132" y="2"/>
                    </a:lnTo>
                    <a:lnTo>
                      <a:pt x="127" y="1"/>
                    </a:lnTo>
                    <a:lnTo>
                      <a:pt x="120" y="0"/>
                    </a:lnTo>
                    <a:lnTo>
                      <a:pt x="30" y="0"/>
                    </a:lnTo>
                    <a:lnTo>
                      <a:pt x="24" y="1"/>
                    </a:lnTo>
                    <a:lnTo>
                      <a:pt x="18" y="2"/>
                    </a:lnTo>
                    <a:lnTo>
                      <a:pt x="13" y="5"/>
                    </a:lnTo>
                    <a:lnTo>
                      <a:pt x="9" y="8"/>
                    </a:lnTo>
                    <a:lnTo>
                      <a:pt x="5" y="12"/>
                    </a:lnTo>
                    <a:lnTo>
                      <a:pt x="2" y="18"/>
                    </a:lnTo>
                    <a:lnTo>
                      <a:pt x="1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2" y="41"/>
                    </a:lnTo>
                    <a:lnTo>
                      <a:pt x="5" y="47"/>
                    </a:lnTo>
                    <a:lnTo>
                      <a:pt x="9" y="51"/>
                    </a:lnTo>
                    <a:lnTo>
                      <a:pt x="13" y="54"/>
                    </a:lnTo>
                    <a:lnTo>
                      <a:pt x="18" y="57"/>
                    </a:lnTo>
                    <a:lnTo>
                      <a:pt x="24" y="59"/>
                    </a:lnTo>
                    <a:lnTo>
                      <a:pt x="30" y="60"/>
                    </a:lnTo>
                    <a:lnTo>
                      <a:pt x="3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3840"/>
              <p:cNvSpPr>
                <a:spLocks/>
              </p:cNvSpPr>
              <p:nvPr/>
            </p:nvSpPr>
            <p:spPr bwMode="auto">
              <a:xfrm>
                <a:off x="6443663" y="2622550"/>
                <a:ext cx="142875" cy="142875"/>
              </a:xfrm>
              <a:custGeom>
                <a:avLst/>
                <a:gdLst>
                  <a:gd name="T0" fmla="*/ 279 w 450"/>
                  <a:gd name="T1" fmla="*/ 355 h 451"/>
                  <a:gd name="T2" fmla="*/ 261 w 450"/>
                  <a:gd name="T3" fmla="*/ 370 h 451"/>
                  <a:gd name="T4" fmla="*/ 241 w 450"/>
                  <a:gd name="T5" fmla="*/ 381 h 451"/>
                  <a:gd name="T6" fmla="*/ 222 w 450"/>
                  <a:gd name="T7" fmla="*/ 388 h 451"/>
                  <a:gd name="T8" fmla="*/ 203 w 450"/>
                  <a:gd name="T9" fmla="*/ 391 h 451"/>
                  <a:gd name="T10" fmla="*/ 183 w 450"/>
                  <a:gd name="T11" fmla="*/ 388 h 451"/>
                  <a:gd name="T12" fmla="*/ 164 w 450"/>
                  <a:gd name="T13" fmla="*/ 381 h 451"/>
                  <a:gd name="T14" fmla="*/ 145 w 450"/>
                  <a:gd name="T15" fmla="*/ 370 h 451"/>
                  <a:gd name="T16" fmla="*/ 127 w 450"/>
                  <a:gd name="T17" fmla="*/ 355 h 451"/>
                  <a:gd name="T18" fmla="*/ 88 w 450"/>
                  <a:gd name="T19" fmla="*/ 315 h 451"/>
                  <a:gd name="T20" fmla="*/ 74 w 450"/>
                  <a:gd name="T21" fmla="*/ 296 h 451"/>
                  <a:gd name="T22" fmla="*/ 65 w 450"/>
                  <a:gd name="T23" fmla="*/ 277 h 451"/>
                  <a:gd name="T24" fmla="*/ 60 w 450"/>
                  <a:gd name="T25" fmla="*/ 257 h 451"/>
                  <a:gd name="T26" fmla="*/ 60 w 450"/>
                  <a:gd name="T27" fmla="*/ 238 h 451"/>
                  <a:gd name="T28" fmla="*/ 65 w 450"/>
                  <a:gd name="T29" fmla="*/ 218 h 451"/>
                  <a:gd name="T30" fmla="*/ 74 w 450"/>
                  <a:gd name="T31" fmla="*/ 199 h 451"/>
                  <a:gd name="T32" fmla="*/ 88 w 450"/>
                  <a:gd name="T33" fmla="*/ 181 h 451"/>
                  <a:gd name="T34" fmla="*/ 217 w 450"/>
                  <a:gd name="T35" fmla="*/ 51 h 451"/>
                  <a:gd name="T36" fmla="*/ 223 w 450"/>
                  <a:gd name="T37" fmla="*/ 42 h 451"/>
                  <a:gd name="T38" fmla="*/ 225 w 450"/>
                  <a:gd name="T39" fmla="*/ 30 h 451"/>
                  <a:gd name="T40" fmla="*/ 223 w 450"/>
                  <a:gd name="T41" fmla="*/ 19 h 451"/>
                  <a:gd name="T42" fmla="*/ 217 w 450"/>
                  <a:gd name="T43" fmla="*/ 8 h 451"/>
                  <a:gd name="T44" fmla="*/ 207 w 450"/>
                  <a:gd name="T45" fmla="*/ 2 h 451"/>
                  <a:gd name="T46" fmla="*/ 195 w 450"/>
                  <a:gd name="T47" fmla="*/ 0 h 451"/>
                  <a:gd name="T48" fmla="*/ 184 w 450"/>
                  <a:gd name="T49" fmla="*/ 2 h 451"/>
                  <a:gd name="T50" fmla="*/ 174 w 450"/>
                  <a:gd name="T51" fmla="*/ 8 h 451"/>
                  <a:gd name="T52" fmla="*/ 41 w 450"/>
                  <a:gd name="T53" fmla="*/ 142 h 451"/>
                  <a:gd name="T54" fmla="*/ 20 w 450"/>
                  <a:gd name="T55" fmla="*/ 171 h 451"/>
                  <a:gd name="T56" fmla="*/ 8 w 450"/>
                  <a:gd name="T57" fmla="*/ 201 h 451"/>
                  <a:gd name="T58" fmla="*/ 1 w 450"/>
                  <a:gd name="T59" fmla="*/ 232 h 451"/>
                  <a:gd name="T60" fmla="*/ 1 w 450"/>
                  <a:gd name="T61" fmla="*/ 263 h 451"/>
                  <a:gd name="T62" fmla="*/ 8 w 450"/>
                  <a:gd name="T63" fmla="*/ 294 h 451"/>
                  <a:gd name="T64" fmla="*/ 20 w 450"/>
                  <a:gd name="T65" fmla="*/ 324 h 451"/>
                  <a:gd name="T66" fmla="*/ 41 w 450"/>
                  <a:gd name="T67" fmla="*/ 352 h 451"/>
                  <a:gd name="T68" fmla="*/ 84 w 450"/>
                  <a:gd name="T69" fmla="*/ 396 h 451"/>
                  <a:gd name="T70" fmla="*/ 112 w 450"/>
                  <a:gd name="T71" fmla="*/ 420 h 451"/>
                  <a:gd name="T72" fmla="*/ 142 w 450"/>
                  <a:gd name="T73" fmla="*/ 437 h 451"/>
                  <a:gd name="T74" fmla="*/ 172 w 450"/>
                  <a:gd name="T75" fmla="*/ 448 h 451"/>
                  <a:gd name="T76" fmla="*/ 203 w 450"/>
                  <a:gd name="T77" fmla="*/ 451 h 451"/>
                  <a:gd name="T78" fmla="*/ 234 w 450"/>
                  <a:gd name="T79" fmla="*/ 448 h 451"/>
                  <a:gd name="T80" fmla="*/ 264 w 450"/>
                  <a:gd name="T81" fmla="*/ 437 h 451"/>
                  <a:gd name="T82" fmla="*/ 294 w 450"/>
                  <a:gd name="T83" fmla="*/ 420 h 451"/>
                  <a:gd name="T84" fmla="*/ 322 w 450"/>
                  <a:gd name="T85" fmla="*/ 396 h 451"/>
                  <a:gd name="T86" fmla="*/ 446 w 450"/>
                  <a:gd name="T87" fmla="*/ 272 h 451"/>
                  <a:gd name="T88" fmla="*/ 450 w 450"/>
                  <a:gd name="T89" fmla="*/ 261 h 451"/>
                  <a:gd name="T90" fmla="*/ 450 w 450"/>
                  <a:gd name="T91" fmla="*/ 250 h 451"/>
                  <a:gd name="T92" fmla="*/ 446 w 450"/>
                  <a:gd name="T93" fmla="*/ 239 h 451"/>
                  <a:gd name="T94" fmla="*/ 438 w 450"/>
                  <a:gd name="T95" fmla="*/ 230 h 451"/>
                  <a:gd name="T96" fmla="*/ 427 w 450"/>
                  <a:gd name="T97" fmla="*/ 226 h 451"/>
                  <a:gd name="T98" fmla="*/ 415 w 450"/>
                  <a:gd name="T99" fmla="*/ 226 h 451"/>
                  <a:gd name="T100" fmla="*/ 404 w 450"/>
                  <a:gd name="T101" fmla="*/ 230 h 451"/>
                  <a:gd name="T102" fmla="*/ 399 w 450"/>
                  <a:gd name="T103" fmla="*/ 233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50" h="451">
                    <a:moveTo>
                      <a:pt x="399" y="233"/>
                    </a:moveTo>
                    <a:lnTo>
                      <a:pt x="279" y="355"/>
                    </a:lnTo>
                    <a:lnTo>
                      <a:pt x="270" y="362"/>
                    </a:lnTo>
                    <a:lnTo>
                      <a:pt x="261" y="370"/>
                    </a:lnTo>
                    <a:lnTo>
                      <a:pt x="251" y="376"/>
                    </a:lnTo>
                    <a:lnTo>
                      <a:pt x="241" y="381"/>
                    </a:lnTo>
                    <a:lnTo>
                      <a:pt x="232" y="386"/>
                    </a:lnTo>
                    <a:lnTo>
                      <a:pt x="222" y="388"/>
                    </a:lnTo>
                    <a:lnTo>
                      <a:pt x="212" y="390"/>
                    </a:lnTo>
                    <a:lnTo>
                      <a:pt x="203" y="391"/>
                    </a:lnTo>
                    <a:lnTo>
                      <a:pt x="193" y="390"/>
                    </a:lnTo>
                    <a:lnTo>
                      <a:pt x="183" y="388"/>
                    </a:lnTo>
                    <a:lnTo>
                      <a:pt x="174" y="386"/>
                    </a:lnTo>
                    <a:lnTo>
                      <a:pt x="164" y="381"/>
                    </a:lnTo>
                    <a:lnTo>
                      <a:pt x="154" y="376"/>
                    </a:lnTo>
                    <a:lnTo>
                      <a:pt x="145" y="370"/>
                    </a:lnTo>
                    <a:lnTo>
                      <a:pt x="135" y="363"/>
                    </a:lnTo>
                    <a:lnTo>
                      <a:pt x="127" y="355"/>
                    </a:lnTo>
                    <a:lnTo>
                      <a:pt x="97" y="325"/>
                    </a:lnTo>
                    <a:lnTo>
                      <a:pt x="88" y="315"/>
                    </a:lnTo>
                    <a:lnTo>
                      <a:pt x="80" y="305"/>
                    </a:lnTo>
                    <a:lnTo>
                      <a:pt x="74" y="296"/>
                    </a:lnTo>
                    <a:lnTo>
                      <a:pt x="69" y="287"/>
                    </a:lnTo>
                    <a:lnTo>
                      <a:pt x="65" y="277"/>
                    </a:lnTo>
                    <a:lnTo>
                      <a:pt x="62" y="268"/>
                    </a:lnTo>
                    <a:lnTo>
                      <a:pt x="60" y="257"/>
                    </a:lnTo>
                    <a:lnTo>
                      <a:pt x="60" y="247"/>
                    </a:lnTo>
                    <a:lnTo>
                      <a:pt x="60" y="238"/>
                    </a:lnTo>
                    <a:lnTo>
                      <a:pt x="62" y="228"/>
                    </a:lnTo>
                    <a:lnTo>
                      <a:pt x="65" y="218"/>
                    </a:lnTo>
                    <a:lnTo>
                      <a:pt x="69" y="209"/>
                    </a:lnTo>
                    <a:lnTo>
                      <a:pt x="74" y="199"/>
                    </a:lnTo>
                    <a:lnTo>
                      <a:pt x="80" y="190"/>
                    </a:lnTo>
                    <a:lnTo>
                      <a:pt x="88" y="181"/>
                    </a:lnTo>
                    <a:lnTo>
                      <a:pt x="97" y="171"/>
                    </a:lnTo>
                    <a:lnTo>
                      <a:pt x="217" y="51"/>
                    </a:lnTo>
                    <a:lnTo>
                      <a:pt x="221" y="47"/>
                    </a:lnTo>
                    <a:lnTo>
                      <a:pt x="223" y="42"/>
                    </a:lnTo>
                    <a:lnTo>
                      <a:pt x="225" y="35"/>
                    </a:lnTo>
                    <a:lnTo>
                      <a:pt x="225" y="30"/>
                    </a:lnTo>
                    <a:lnTo>
                      <a:pt x="225" y="24"/>
                    </a:lnTo>
                    <a:lnTo>
                      <a:pt x="223" y="19"/>
                    </a:lnTo>
                    <a:lnTo>
                      <a:pt x="221" y="14"/>
                    </a:lnTo>
                    <a:lnTo>
                      <a:pt x="217" y="8"/>
                    </a:lnTo>
                    <a:lnTo>
                      <a:pt x="212" y="5"/>
                    </a:lnTo>
                    <a:lnTo>
                      <a:pt x="207" y="2"/>
                    </a:lnTo>
                    <a:lnTo>
                      <a:pt x="202" y="1"/>
                    </a:lnTo>
                    <a:lnTo>
                      <a:pt x="195" y="0"/>
                    </a:lnTo>
                    <a:lnTo>
                      <a:pt x="190" y="1"/>
                    </a:lnTo>
                    <a:lnTo>
                      <a:pt x="184" y="2"/>
                    </a:lnTo>
                    <a:lnTo>
                      <a:pt x="179" y="5"/>
                    </a:lnTo>
                    <a:lnTo>
                      <a:pt x="174" y="8"/>
                    </a:lnTo>
                    <a:lnTo>
                      <a:pt x="54" y="128"/>
                    </a:lnTo>
                    <a:lnTo>
                      <a:pt x="41" y="142"/>
                    </a:lnTo>
                    <a:lnTo>
                      <a:pt x="30" y="157"/>
                    </a:lnTo>
                    <a:lnTo>
                      <a:pt x="20" y="171"/>
                    </a:lnTo>
                    <a:lnTo>
                      <a:pt x="13" y="186"/>
                    </a:lnTo>
                    <a:lnTo>
                      <a:pt x="8" y="201"/>
                    </a:lnTo>
                    <a:lnTo>
                      <a:pt x="3" y="216"/>
                    </a:lnTo>
                    <a:lnTo>
                      <a:pt x="1" y="232"/>
                    </a:lnTo>
                    <a:lnTo>
                      <a:pt x="0" y="247"/>
                    </a:lnTo>
                    <a:lnTo>
                      <a:pt x="1" y="263"/>
                    </a:lnTo>
                    <a:lnTo>
                      <a:pt x="3" y="278"/>
                    </a:lnTo>
                    <a:lnTo>
                      <a:pt x="8" y="294"/>
                    </a:lnTo>
                    <a:lnTo>
                      <a:pt x="13" y="310"/>
                    </a:lnTo>
                    <a:lnTo>
                      <a:pt x="20" y="324"/>
                    </a:lnTo>
                    <a:lnTo>
                      <a:pt x="30" y="339"/>
                    </a:lnTo>
                    <a:lnTo>
                      <a:pt x="41" y="352"/>
                    </a:lnTo>
                    <a:lnTo>
                      <a:pt x="54" y="366"/>
                    </a:lnTo>
                    <a:lnTo>
                      <a:pt x="84" y="396"/>
                    </a:lnTo>
                    <a:lnTo>
                      <a:pt x="98" y="409"/>
                    </a:lnTo>
                    <a:lnTo>
                      <a:pt x="112" y="420"/>
                    </a:lnTo>
                    <a:lnTo>
                      <a:pt x="127" y="430"/>
                    </a:lnTo>
                    <a:lnTo>
                      <a:pt x="142" y="437"/>
                    </a:lnTo>
                    <a:lnTo>
                      <a:pt x="157" y="444"/>
                    </a:lnTo>
                    <a:lnTo>
                      <a:pt x="172" y="448"/>
                    </a:lnTo>
                    <a:lnTo>
                      <a:pt x="188" y="450"/>
                    </a:lnTo>
                    <a:lnTo>
                      <a:pt x="203" y="451"/>
                    </a:lnTo>
                    <a:lnTo>
                      <a:pt x="219" y="450"/>
                    </a:lnTo>
                    <a:lnTo>
                      <a:pt x="234" y="448"/>
                    </a:lnTo>
                    <a:lnTo>
                      <a:pt x="249" y="444"/>
                    </a:lnTo>
                    <a:lnTo>
                      <a:pt x="264" y="437"/>
                    </a:lnTo>
                    <a:lnTo>
                      <a:pt x="279" y="430"/>
                    </a:lnTo>
                    <a:lnTo>
                      <a:pt x="294" y="420"/>
                    </a:lnTo>
                    <a:lnTo>
                      <a:pt x="308" y="409"/>
                    </a:lnTo>
                    <a:lnTo>
                      <a:pt x="322" y="396"/>
                    </a:lnTo>
                    <a:lnTo>
                      <a:pt x="442" y="276"/>
                    </a:lnTo>
                    <a:lnTo>
                      <a:pt x="446" y="272"/>
                    </a:lnTo>
                    <a:lnTo>
                      <a:pt x="448" y="267"/>
                    </a:lnTo>
                    <a:lnTo>
                      <a:pt x="450" y="261"/>
                    </a:lnTo>
                    <a:lnTo>
                      <a:pt x="450" y="255"/>
                    </a:lnTo>
                    <a:lnTo>
                      <a:pt x="450" y="250"/>
                    </a:lnTo>
                    <a:lnTo>
                      <a:pt x="448" y="244"/>
                    </a:lnTo>
                    <a:lnTo>
                      <a:pt x="446" y="239"/>
                    </a:lnTo>
                    <a:lnTo>
                      <a:pt x="442" y="235"/>
                    </a:lnTo>
                    <a:lnTo>
                      <a:pt x="438" y="230"/>
                    </a:lnTo>
                    <a:lnTo>
                      <a:pt x="432" y="227"/>
                    </a:lnTo>
                    <a:lnTo>
                      <a:pt x="427" y="226"/>
                    </a:lnTo>
                    <a:lnTo>
                      <a:pt x="420" y="225"/>
                    </a:lnTo>
                    <a:lnTo>
                      <a:pt x="415" y="226"/>
                    </a:lnTo>
                    <a:lnTo>
                      <a:pt x="410" y="227"/>
                    </a:lnTo>
                    <a:lnTo>
                      <a:pt x="404" y="230"/>
                    </a:lnTo>
                    <a:lnTo>
                      <a:pt x="399" y="235"/>
                    </a:lnTo>
                    <a:lnTo>
                      <a:pt x="399" y="2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3841"/>
              <p:cNvSpPr>
                <a:spLocks/>
              </p:cNvSpPr>
              <p:nvPr/>
            </p:nvSpPr>
            <p:spPr bwMode="auto">
              <a:xfrm>
                <a:off x="6615113" y="2555875"/>
                <a:ext cx="114300" cy="133350"/>
              </a:xfrm>
              <a:custGeom>
                <a:avLst/>
                <a:gdLst>
                  <a:gd name="T0" fmla="*/ 30 w 361"/>
                  <a:gd name="T1" fmla="*/ 0 h 420"/>
                  <a:gd name="T2" fmla="*/ 19 w 361"/>
                  <a:gd name="T3" fmla="*/ 2 h 420"/>
                  <a:gd name="T4" fmla="*/ 9 w 361"/>
                  <a:gd name="T5" fmla="*/ 8 h 420"/>
                  <a:gd name="T6" fmla="*/ 3 w 361"/>
                  <a:gd name="T7" fmla="*/ 18 h 420"/>
                  <a:gd name="T8" fmla="*/ 0 w 361"/>
                  <a:gd name="T9" fmla="*/ 30 h 420"/>
                  <a:gd name="T10" fmla="*/ 3 w 361"/>
                  <a:gd name="T11" fmla="*/ 41 h 420"/>
                  <a:gd name="T12" fmla="*/ 9 w 361"/>
                  <a:gd name="T13" fmla="*/ 51 h 420"/>
                  <a:gd name="T14" fmla="*/ 19 w 361"/>
                  <a:gd name="T15" fmla="*/ 57 h 420"/>
                  <a:gd name="T16" fmla="*/ 30 w 361"/>
                  <a:gd name="T17" fmla="*/ 60 h 420"/>
                  <a:gd name="T18" fmla="*/ 205 w 361"/>
                  <a:gd name="T19" fmla="*/ 61 h 420"/>
                  <a:gd name="T20" fmla="*/ 225 w 361"/>
                  <a:gd name="T21" fmla="*/ 65 h 420"/>
                  <a:gd name="T22" fmla="*/ 243 w 361"/>
                  <a:gd name="T23" fmla="*/ 75 h 420"/>
                  <a:gd name="T24" fmla="*/ 260 w 361"/>
                  <a:gd name="T25" fmla="*/ 89 h 420"/>
                  <a:gd name="T26" fmla="*/ 275 w 361"/>
                  <a:gd name="T27" fmla="*/ 106 h 420"/>
                  <a:gd name="T28" fmla="*/ 287 w 361"/>
                  <a:gd name="T29" fmla="*/ 125 h 420"/>
                  <a:gd name="T30" fmla="*/ 296 w 361"/>
                  <a:gd name="T31" fmla="*/ 145 h 420"/>
                  <a:gd name="T32" fmla="*/ 300 w 361"/>
                  <a:gd name="T33" fmla="*/ 168 h 420"/>
                  <a:gd name="T34" fmla="*/ 301 w 361"/>
                  <a:gd name="T35" fmla="*/ 255 h 420"/>
                  <a:gd name="T36" fmla="*/ 299 w 361"/>
                  <a:gd name="T37" fmla="*/ 275 h 420"/>
                  <a:gd name="T38" fmla="*/ 292 w 361"/>
                  <a:gd name="T39" fmla="*/ 295 h 420"/>
                  <a:gd name="T40" fmla="*/ 282 w 361"/>
                  <a:gd name="T41" fmla="*/ 313 h 420"/>
                  <a:gd name="T42" fmla="*/ 269 w 361"/>
                  <a:gd name="T43" fmla="*/ 329 h 420"/>
                  <a:gd name="T44" fmla="*/ 254 w 361"/>
                  <a:gd name="T45" fmla="*/ 342 h 420"/>
                  <a:gd name="T46" fmla="*/ 236 w 361"/>
                  <a:gd name="T47" fmla="*/ 351 h 420"/>
                  <a:gd name="T48" fmla="*/ 216 w 361"/>
                  <a:gd name="T49" fmla="*/ 358 h 420"/>
                  <a:gd name="T50" fmla="*/ 196 w 361"/>
                  <a:gd name="T51" fmla="*/ 360 h 420"/>
                  <a:gd name="T52" fmla="*/ 24 w 361"/>
                  <a:gd name="T53" fmla="*/ 361 h 420"/>
                  <a:gd name="T54" fmla="*/ 13 w 361"/>
                  <a:gd name="T55" fmla="*/ 365 h 420"/>
                  <a:gd name="T56" fmla="*/ 5 w 361"/>
                  <a:gd name="T57" fmla="*/ 374 h 420"/>
                  <a:gd name="T58" fmla="*/ 1 w 361"/>
                  <a:gd name="T59" fmla="*/ 384 h 420"/>
                  <a:gd name="T60" fmla="*/ 1 w 361"/>
                  <a:gd name="T61" fmla="*/ 396 h 420"/>
                  <a:gd name="T62" fmla="*/ 5 w 361"/>
                  <a:gd name="T63" fmla="*/ 407 h 420"/>
                  <a:gd name="T64" fmla="*/ 13 w 361"/>
                  <a:gd name="T65" fmla="*/ 416 h 420"/>
                  <a:gd name="T66" fmla="*/ 24 w 361"/>
                  <a:gd name="T67" fmla="*/ 420 h 420"/>
                  <a:gd name="T68" fmla="*/ 196 w 361"/>
                  <a:gd name="T69" fmla="*/ 420 h 420"/>
                  <a:gd name="T70" fmla="*/ 228 w 361"/>
                  <a:gd name="T71" fmla="*/ 417 h 420"/>
                  <a:gd name="T72" fmla="*/ 259 w 361"/>
                  <a:gd name="T73" fmla="*/ 407 h 420"/>
                  <a:gd name="T74" fmla="*/ 287 w 361"/>
                  <a:gd name="T75" fmla="*/ 392 h 420"/>
                  <a:gd name="T76" fmla="*/ 312 w 361"/>
                  <a:gd name="T77" fmla="*/ 372 h 420"/>
                  <a:gd name="T78" fmla="*/ 332 w 361"/>
                  <a:gd name="T79" fmla="*/ 347 h 420"/>
                  <a:gd name="T80" fmla="*/ 347 w 361"/>
                  <a:gd name="T81" fmla="*/ 319 h 420"/>
                  <a:gd name="T82" fmla="*/ 357 w 361"/>
                  <a:gd name="T83" fmla="*/ 288 h 420"/>
                  <a:gd name="T84" fmla="*/ 361 w 361"/>
                  <a:gd name="T85" fmla="*/ 255 h 420"/>
                  <a:gd name="T86" fmla="*/ 360 w 361"/>
                  <a:gd name="T87" fmla="*/ 163 h 420"/>
                  <a:gd name="T88" fmla="*/ 353 w 361"/>
                  <a:gd name="T89" fmla="*/ 130 h 420"/>
                  <a:gd name="T90" fmla="*/ 342 w 361"/>
                  <a:gd name="T91" fmla="*/ 99 h 420"/>
                  <a:gd name="T92" fmla="*/ 323 w 361"/>
                  <a:gd name="T93" fmla="*/ 70 h 420"/>
                  <a:gd name="T94" fmla="*/ 302 w 361"/>
                  <a:gd name="T95" fmla="*/ 45 h 420"/>
                  <a:gd name="T96" fmla="*/ 275 w 361"/>
                  <a:gd name="T97" fmla="*/ 24 h 420"/>
                  <a:gd name="T98" fmla="*/ 246 w 361"/>
                  <a:gd name="T99" fmla="*/ 9 h 420"/>
                  <a:gd name="T100" fmla="*/ 213 w 361"/>
                  <a:gd name="T101" fmla="*/ 1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1" h="420">
                    <a:moveTo>
                      <a:pt x="196" y="0"/>
                    </a:moveTo>
                    <a:lnTo>
                      <a:pt x="30" y="0"/>
                    </a:lnTo>
                    <a:lnTo>
                      <a:pt x="24" y="1"/>
                    </a:lnTo>
                    <a:lnTo>
                      <a:pt x="19" y="2"/>
                    </a:lnTo>
                    <a:lnTo>
                      <a:pt x="13" y="5"/>
                    </a:lnTo>
                    <a:lnTo>
                      <a:pt x="9" y="8"/>
                    </a:lnTo>
                    <a:lnTo>
                      <a:pt x="5" y="12"/>
                    </a:lnTo>
                    <a:lnTo>
                      <a:pt x="3" y="18"/>
                    </a:lnTo>
                    <a:lnTo>
                      <a:pt x="1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3" y="41"/>
                    </a:lnTo>
                    <a:lnTo>
                      <a:pt x="5" y="47"/>
                    </a:lnTo>
                    <a:lnTo>
                      <a:pt x="9" y="51"/>
                    </a:lnTo>
                    <a:lnTo>
                      <a:pt x="13" y="54"/>
                    </a:lnTo>
                    <a:lnTo>
                      <a:pt x="19" y="57"/>
                    </a:lnTo>
                    <a:lnTo>
                      <a:pt x="24" y="59"/>
                    </a:lnTo>
                    <a:lnTo>
                      <a:pt x="30" y="60"/>
                    </a:lnTo>
                    <a:lnTo>
                      <a:pt x="196" y="60"/>
                    </a:lnTo>
                    <a:lnTo>
                      <a:pt x="205" y="61"/>
                    </a:lnTo>
                    <a:lnTo>
                      <a:pt x="215" y="62"/>
                    </a:lnTo>
                    <a:lnTo>
                      <a:pt x="225" y="65"/>
                    </a:lnTo>
                    <a:lnTo>
                      <a:pt x="234" y="69"/>
                    </a:lnTo>
                    <a:lnTo>
                      <a:pt x="243" y="75"/>
                    </a:lnTo>
                    <a:lnTo>
                      <a:pt x="252" y="81"/>
                    </a:lnTo>
                    <a:lnTo>
                      <a:pt x="260" y="89"/>
                    </a:lnTo>
                    <a:lnTo>
                      <a:pt x="268" y="97"/>
                    </a:lnTo>
                    <a:lnTo>
                      <a:pt x="275" y="106"/>
                    </a:lnTo>
                    <a:lnTo>
                      <a:pt x="282" y="114"/>
                    </a:lnTo>
                    <a:lnTo>
                      <a:pt x="287" y="125"/>
                    </a:lnTo>
                    <a:lnTo>
                      <a:pt x="291" y="135"/>
                    </a:lnTo>
                    <a:lnTo>
                      <a:pt x="296" y="145"/>
                    </a:lnTo>
                    <a:lnTo>
                      <a:pt x="298" y="156"/>
                    </a:lnTo>
                    <a:lnTo>
                      <a:pt x="300" y="168"/>
                    </a:lnTo>
                    <a:lnTo>
                      <a:pt x="301" y="179"/>
                    </a:lnTo>
                    <a:lnTo>
                      <a:pt x="301" y="255"/>
                    </a:lnTo>
                    <a:lnTo>
                      <a:pt x="300" y="265"/>
                    </a:lnTo>
                    <a:lnTo>
                      <a:pt x="299" y="275"/>
                    </a:lnTo>
                    <a:lnTo>
                      <a:pt x="296" y="286"/>
                    </a:lnTo>
                    <a:lnTo>
                      <a:pt x="292" y="295"/>
                    </a:lnTo>
                    <a:lnTo>
                      <a:pt x="287" y="304"/>
                    </a:lnTo>
                    <a:lnTo>
                      <a:pt x="282" y="313"/>
                    </a:lnTo>
                    <a:lnTo>
                      <a:pt x="276" y="321"/>
                    </a:lnTo>
                    <a:lnTo>
                      <a:pt x="269" y="329"/>
                    </a:lnTo>
                    <a:lnTo>
                      <a:pt x="261" y="335"/>
                    </a:lnTo>
                    <a:lnTo>
                      <a:pt x="254" y="342"/>
                    </a:lnTo>
                    <a:lnTo>
                      <a:pt x="244" y="347"/>
                    </a:lnTo>
                    <a:lnTo>
                      <a:pt x="236" y="351"/>
                    </a:lnTo>
                    <a:lnTo>
                      <a:pt x="226" y="356"/>
                    </a:lnTo>
                    <a:lnTo>
                      <a:pt x="216" y="358"/>
                    </a:lnTo>
                    <a:lnTo>
                      <a:pt x="205" y="360"/>
                    </a:lnTo>
                    <a:lnTo>
                      <a:pt x="196" y="360"/>
                    </a:lnTo>
                    <a:lnTo>
                      <a:pt x="30" y="360"/>
                    </a:lnTo>
                    <a:lnTo>
                      <a:pt x="24" y="361"/>
                    </a:lnTo>
                    <a:lnTo>
                      <a:pt x="19" y="362"/>
                    </a:lnTo>
                    <a:lnTo>
                      <a:pt x="13" y="365"/>
                    </a:lnTo>
                    <a:lnTo>
                      <a:pt x="9" y="368"/>
                    </a:lnTo>
                    <a:lnTo>
                      <a:pt x="5" y="374"/>
                    </a:lnTo>
                    <a:lnTo>
                      <a:pt x="3" y="378"/>
                    </a:lnTo>
                    <a:lnTo>
                      <a:pt x="1" y="384"/>
                    </a:lnTo>
                    <a:lnTo>
                      <a:pt x="0" y="390"/>
                    </a:lnTo>
                    <a:lnTo>
                      <a:pt x="1" y="396"/>
                    </a:lnTo>
                    <a:lnTo>
                      <a:pt x="3" y="402"/>
                    </a:lnTo>
                    <a:lnTo>
                      <a:pt x="5" y="407"/>
                    </a:lnTo>
                    <a:lnTo>
                      <a:pt x="9" y="411"/>
                    </a:lnTo>
                    <a:lnTo>
                      <a:pt x="13" y="416"/>
                    </a:lnTo>
                    <a:lnTo>
                      <a:pt x="19" y="418"/>
                    </a:lnTo>
                    <a:lnTo>
                      <a:pt x="24" y="420"/>
                    </a:lnTo>
                    <a:lnTo>
                      <a:pt x="30" y="420"/>
                    </a:lnTo>
                    <a:lnTo>
                      <a:pt x="196" y="420"/>
                    </a:lnTo>
                    <a:lnTo>
                      <a:pt x="212" y="419"/>
                    </a:lnTo>
                    <a:lnTo>
                      <a:pt x="228" y="417"/>
                    </a:lnTo>
                    <a:lnTo>
                      <a:pt x="244" y="412"/>
                    </a:lnTo>
                    <a:lnTo>
                      <a:pt x="259" y="407"/>
                    </a:lnTo>
                    <a:lnTo>
                      <a:pt x="273" y="400"/>
                    </a:lnTo>
                    <a:lnTo>
                      <a:pt x="287" y="392"/>
                    </a:lnTo>
                    <a:lnTo>
                      <a:pt x="300" y="382"/>
                    </a:lnTo>
                    <a:lnTo>
                      <a:pt x="312" y="372"/>
                    </a:lnTo>
                    <a:lnTo>
                      <a:pt x="322" y="360"/>
                    </a:lnTo>
                    <a:lnTo>
                      <a:pt x="332" y="347"/>
                    </a:lnTo>
                    <a:lnTo>
                      <a:pt x="341" y="333"/>
                    </a:lnTo>
                    <a:lnTo>
                      <a:pt x="347" y="319"/>
                    </a:lnTo>
                    <a:lnTo>
                      <a:pt x="353" y="303"/>
                    </a:lnTo>
                    <a:lnTo>
                      <a:pt x="357" y="288"/>
                    </a:lnTo>
                    <a:lnTo>
                      <a:pt x="360" y="272"/>
                    </a:lnTo>
                    <a:lnTo>
                      <a:pt x="361" y="255"/>
                    </a:lnTo>
                    <a:lnTo>
                      <a:pt x="361" y="179"/>
                    </a:lnTo>
                    <a:lnTo>
                      <a:pt x="360" y="163"/>
                    </a:lnTo>
                    <a:lnTo>
                      <a:pt x="358" y="146"/>
                    </a:lnTo>
                    <a:lnTo>
                      <a:pt x="353" y="130"/>
                    </a:lnTo>
                    <a:lnTo>
                      <a:pt x="348" y="115"/>
                    </a:lnTo>
                    <a:lnTo>
                      <a:pt x="342" y="99"/>
                    </a:lnTo>
                    <a:lnTo>
                      <a:pt x="333" y="85"/>
                    </a:lnTo>
                    <a:lnTo>
                      <a:pt x="323" y="70"/>
                    </a:lnTo>
                    <a:lnTo>
                      <a:pt x="314" y="57"/>
                    </a:lnTo>
                    <a:lnTo>
                      <a:pt x="302" y="45"/>
                    </a:lnTo>
                    <a:lnTo>
                      <a:pt x="289" y="34"/>
                    </a:lnTo>
                    <a:lnTo>
                      <a:pt x="275" y="24"/>
                    </a:lnTo>
                    <a:lnTo>
                      <a:pt x="261" y="16"/>
                    </a:lnTo>
                    <a:lnTo>
                      <a:pt x="246" y="9"/>
                    </a:lnTo>
                    <a:lnTo>
                      <a:pt x="229" y="4"/>
                    </a:lnTo>
                    <a:lnTo>
                      <a:pt x="213" y="1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3" name="Group 162"/>
            <p:cNvGrpSpPr/>
            <p:nvPr/>
          </p:nvGrpSpPr>
          <p:grpSpPr>
            <a:xfrm>
              <a:off x="4908976" y="4248669"/>
              <a:ext cx="320632" cy="297478"/>
              <a:chOff x="9879013" y="2500313"/>
              <a:chExt cx="285750" cy="265113"/>
            </a:xfrm>
            <a:solidFill>
              <a:srgbClr val="AAAAAA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164" name="Freeform 3859"/>
              <p:cNvSpPr>
                <a:spLocks noEditPoints="1"/>
              </p:cNvSpPr>
              <p:nvPr/>
            </p:nvSpPr>
            <p:spPr bwMode="auto">
              <a:xfrm>
                <a:off x="10031413" y="2500313"/>
                <a:ext cx="133350" cy="265113"/>
              </a:xfrm>
              <a:custGeom>
                <a:avLst/>
                <a:gdLst>
                  <a:gd name="T0" fmla="*/ 156 w 420"/>
                  <a:gd name="T1" fmla="*/ 795 h 832"/>
                  <a:gd name="T2" fmla="*/ 95 w 420"/>
                  <a:gd name="T3" fmla="*/ 761 h 832"/>
                  <a:gd name="T4" fmla="*/ 51 w 420"/>
                  <a:gd name="T5" fmla="*/ 708 h 832"/>
                  <a:gd name="T6" fmla="*/ 31 w 420"/>
                  <a:gd name="T7" fmla="*/ 640 h 832"/>
                  <a:gd name="T8" fmla="*/ 38 w 420"/>
                  <a:gd name="T9" fmla="*/ 576 h 832"/>
                  <a:gd name="T10" fmla="*/ 73 w 420"/>
                  <a:gd name="T11" fmla="*/ 517 h 832"/>
                  <a:gd name="T12" fmla="*/ 128 w 420"/>
                  <a:gd name="T13" fmla="*/ 469 h 832"/>
                  <a:gd name="T14" fmla="*/ 186 w 420"/>
                  <a:gd name="T15" fmla="*/ 446 h 832"/>
                  <a:gd name="T16" fmla="*/ 224 w 420"/>
                  <a:gd name="T17" fmla="*/ 444 h 832"/>
                  <a:gd name="T18" fmla="*/ 263 w 420"/>
                  <a:gd name="T19" fmla="*/ 451 h 832"/>
                  <a:gd name="T20" fmla="*/ 300 w 420"/>
                  <a:gd name="T21" fmla="*/ 470 h 832"/>
                  <a:gd name="T22" fmla="*/ 344 w 420"/>
                  <a:gd name="T23" fmla="*/ 505 h 832"/>
                  <a:gd name="T24" fmla="*/ 378 w 420"/>
                  <a:gd name="T25" fmla="*/ 556 h 832"/>
                  <a:gd name="T26" fmla="*/ 390 w 420"/>
                  <a:gd name="T27" fmla="*/ 609 h 832"/>
                  <a:gd name="T28" fmla="*/ 383 w 420"/>
                  <a:gd name="T29" fmla="*/ 676 h 832"/>
                  <a:gd name="T30" fmla="*/ 350 w 420"/>
                  <a:gd name="T31" fmla="*/ 737 h 832"/>
                  <a:gd name="T32" fmla="*/ 296 w 420"/>
                  <a:gd name="T33" fmla="*/ 781 h 832"/>
                  <a:gd name="T34" fmla="*/ 228 w 420"/>
                  <a:gd name="T35" fmla="*/ 802 h 832"/>
                  <a:gd name="T36" fmla="*/ 388 w 420"/>
                  <a:gd name="T37" fmla="*/ 508 h 832"/>
                  <a:gd name="T38" fmla="*/ 208 w 420"/>
                  <a:gd name="T39" fmla="*/ 178 h 832"/>
                  <a:gd name="T40" fmla="*/ 145 w 420"/>
                  <a:gd name="T41" fmla="*/ 20 h 832"/>
                  <a:gd name="T42" fmla="*/ 109 w 420"/>
                  <a:gd name="T43" fmla="*/ 4 h 832"/>
                  <a:gd name="T44" fmla="*/ 66 w 420"/>
                  <a:gd name="T45" fmla="*/ 0 h 832"/>
                  <a:gd name="T46" fmla="*/ 27 w 420"/>
                  <a:gd name="T47" fmla="*/ 11 h 832"/>
                  <a:gd name="T48" fmla="*/ 2 w 420"/>
                  <a:gd name="T49" fmla="*/ 28 h 832"/>
                  <a:gd name="T50" fmla="*/ 0 w 420"/>
                  <a:gd name="T51" fmla="*/ 263 h 832"/>
                  <a:gd name="T52" fmla="*/ 55 w 420"/>
                  <a:gd name="T53" fmla="*/ 273 h 832"/>
                  <a:gd name="T54" fmla="*/ 97 w 420"/>
                  <a:gd name="T55" fmla="*/ 293 h 832"/>
                  <a:gd name="T56" fmla="*/ 125 w 420"/>
                  <a:gd name="T57" fmla="*/ 320 h 832"/>
                  <a:gd name="T58" fmla="*/ 135 w 420"/>
                  <a:gd name="T59" fmla="*/ 352 h 832"/>
                  <a:gd name="T60" fmla="*/ 131 w 420"/>
                  <a:gd name="T61" fmla="*/ 362 h 832"/>
                  <a:gd name="T62" fmla="*/ 120 w 420"/>
                  <a:gd name="T63" fmla="*/ 367 h 832"/>
                  <a:gd name="T64" fmla="*/ 109 w 420"/>
                  <a:gd name="T65" fmla="*/ 362 h 832"/>
                  <a:gd name="T66" fmla="*/ 105 w 420"/>
                  <a:gd name="T67" fmla="*/ 352 h 832"/>
                  <a:gd name="T68" fmla="*/ 97 w 420"/>
                  <a:gd name="T69" fmla="*/ 333 h 832"/>
                  <a:gd name="T70" fmla="*/ 76 w 420"/>
                  <a:gd name="T71" fmla="*/ 315 h 832"/>
                  <a:gd name="T72" fmla="*/ 0 w 420"/>
                  <a:gd name="T73" fmla="*/ 293 h 832"/>
                  <a:gd name="T74" fmla="*/ 2 w 420"/>
                  <a:gd name="T75" fmla="*/ 648 h 832"/>
                  <a:gd name="T76" fmla="*/ 27 w 420"/>
                  <a:gd name="T77" fmla="*/ 725 h 832"/>
                  <a:gd name="T78" fmla="*/ 78 w 420"/>
                  <a:gd name="T79" fmla="*/ 786 h 832"/>
                  <a:gd name="T80" fmla="*/ 149 w 420"/>
                  <a:gd name="T81" fmla="*/ 823 h 832"/>
                  <a:gd name="T82" fmla="*/ 221 w 420"/>
                  <a:gd name="T83" fmla="*/ 832 h 832"/>
                  <a:gd name="T84" fmla="*/ 272 w 420"/>
                  <a:gd name="T85" fmla="*/ 823 h 832"/>
                  <a:gd name="T86" fmla="*/ 344 w 420"/>
                  <a:gd name="T87" fmla="*/ 785 h 832"/>
                  <a:gd name="T88" fmla="*/ 396 w 420"/>
                  <a:gd name="T89" fmla="*/ 723 h 832"/>
                  <a:gd name="T90" fmla="*/ 418 w 420"/>
                  <a:gd name="T91" fmla="*/ 654 h 832"/>
                  <a:gd name="T92" fmla="*/ 420 w 420"/>
                  <a:gd name="T93" fmla="*/ 608 h 832"/>
                  <a:gd name="T94" fmla="*/ 408 w 420"/>
                  <a:gd name="T95" fmla="*/ 552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0" h="832">
                    <a:moveTo>
                      <a:pt x="210" y="802"/>
                    </a:moveTo>
                    <a:lnTo>
                      <a:pt x="192" y="802"/>
                    </a:lnTo>
                    <a:lnTo>
                      <a:pt x="174" y="799"/>
                    </a:lnTo>
                    <a:lnTo>
                      <a:pt x="156" y="795"/>
                    </a:lnTo>
                    <a:lnTo>
                      <a:pt x="140" y="788"/>
                    </a:lnTo>
                    <a:lnTo>
                      <a:pt x="124" y="781"/>
                    </a:lnTo>
                    <a:lnTo>
                      <a:pt x="109" y="772"/>
                    </a:lnTo>
                    <a:lnTo>
                      <a:pt x="95" y="761"/>
                    </a:lnTo>
                    <a:lnTo>
                      <a:pt x="82" y="749"/>
                    </a:lnTo>
                    <a:lnTo>
                      <a:pt x="71" y="737"/>
                    </a:lnTo>
                    <a:lnTo>
                      <a:pt x="61" y="723"/>
                    </a:lnTo>
                    <a:lnTo>
                      <a:pt x="51" y="708"/>
                    </a:lnTo>
                    <a:lnTo>
                      <a:pt x="44" y="693"/>
                    </a:lnTo>
                    <a:lnTo>
                      <a:pt x="38" y="676"/>
                    </a:lnTo>
                    <a:lnTo>
                      <a:pt x="33" y="658"/>
                    </a:lnTo>
                    <a:lnTo>
                      <a:pt x="31" y="640"/>
                    </a:lnTo>
                    <a:lnTo>
                      <a:pt x="30" y="622"/>
                    </a:lnTo>
                    <a:lnTo>
                      <a:pt x="31" y="607"/>
                    </a:lnTo>
                    <a:lnTo>
                      <a:pt x="34" y="592"/>
                    </a:lnTo>
                    <a:lnTo>
                      <a:pt x="38" y="576"/>
                    </a:lnTo>
                    <a:lnTo>
                      <a:pt x="45" y="561"/>
                    </a:lnTo>
                    <a:lnTo>
                      <a:pt x="52" y="546"/>
                    </a:lnTo>
                    <a:lnTo>
                      <a:pt x="62" y="531"/>
                    </a:lnTo>
                    <a:lnTo>
                      <a:pt x="73" y="517"/>
                    </a:lnTo>
                    <a:lnTo>
                      <a:pt x="85" y="503"/>
                    </a:lnTo>
                    <a:lnTo>
                      <a:pt x="97" y="490"/>
                    </a:lnTo>
                    <a:lnTo>
                      <a:pt x="112" y="479"/>
                    </a:lnTo>
                    <a:lnTo>
                      <a:pt x="128" y="469"/>
                    </a:lnTo>
                    <a:lnTo>
                      <a:pt x="144" y="460"/>
                    </a:lnTo>
                    <a:lnTo>
                      <a:pt x="161" y="454"/>
                    </a:lnTo>
                    <a:lnTo>
                      <a:pt x="178" y="448"/>
                    </a:lnTo>
                    <a:lnTo>
                      <a:pt x="186" y="446"/>
                    </a:lnTo>
                    <a:lnTo>
                      <a:pt x="196" y="445"/>
                    </a:lnTo>
                    <a:lnTo>
                      <a:pt x="205" y="444"/>
                    </a:lnTo>
                    <a:lnTo>
                      <a:pt x="214" y="444"/>
                    </a:lnTo>
                    <a:lnTo>
                      <a:pt x="224" y="444"/>
                    </a:lnTo>
                    <a:lnTo>
                      <a:pt x="234" y="445"/>
                    </a:lnTo>
                    <a:lnTo>
                      <a:pt x="243" y="447"/>
                    </a:lnTo>
                    <a:lnTo>
                      <a:pt x="253" y="449"/>
                    </a:lnTo>
                    <a:lnTo>
                      <a:pt x="263" y="451"/>
                    </a:lnTo>
                    <a:lnTo>
                      <a:pt x="272" y="456"/>
                    </a:lnTo>
                    <a:lnTo>
                      <a:pt x="281" y="459"/>
                    </a:lnTo>
                    <a:lnTo>
                      <a:pt x="291" y="464"/>
                    </a:lnTo>
                    <a:lnTo>
                      <a:pt x="300" y="470"/>
                    </a:lnTo>
                    <a:lnTo>
                      <a:pt x="309" y="475"/>
                    </a:lnTo>
                    <a:lnTo>
                      <a:pt x="317" y="481"/>
                    </a:lnTo>
                    <a:lnTo>
                      <a:pt x="327" y="489"/>
                    </a:lnTo>
                    <a:lnTo>
                      <a:pt x="344" y="505"/>
                    </a:lnTo>
                    <a:lnTo>
                      <a:pt x="360" y="522"/>
                    </a:lnTo>
                    <a:lnTo>
                      <a:pt x="367" y="534"/>
                    </a:lnTo>
                    <a:lnTo>
                      <a:pt x="373" y="545"/>
                    </a:lnTo>
                    <a:lnTo>
                      <a:pt x="378" y="556"/>
                    </a:lnTo>
                    <a:lnTo>
                      <a:pt x="383" y="569"/>
                    </a:lnTo>
                    <a:lnTo>
                      <a:pt x="386" y="582"/>
                    </a:lnTo>
                    <a:lnTo>
                      <a:pt x="388" y="595"/>
                    </a:lnTo>
                    <a:lnTo>
                      <a:pt x="390" y="609"/>
                    </a:lnTo>
                    <a:lnTo>
                      <a:pt x="390" y="622"/>
                    </a:lnTo>
                    <a:lnTo>
                      <a:pt x="389" y="640"/>
                    </a:lnTo>
                    <a:lnTo>
                      <a:pt x="387" y="658"/>
                    </a:lnTo>
                    <a:lnTo>
                      <a:pt x="383" y="676"/>
                    </a:lnTo>
                    <a:lnTo>
                      <a:pt x="376" y="693"/>
                    </a:lnTo>
                    <a:lnTo>
                      <a:pt x="369" y="708"/>
                    </a:lnTo>
                    <a:lnTo>
                      <a:pt x="359" y="723"/>
                    </a:lnTo>
                    <a:lnTo>
                      <a:pt x="350" y="737"/>
                    </a:lnTo>
                    <a:lnTo>
                      <a:pt x="338" y="749"/>
                    </a:lnTo>
                    <a:lnTo>
                      <a:pt x="325" y="761"/>
                    </a:lnTo>
                    <a:lnTo>
                      <a:pt x="311" y="772"/>
                    </a:lnTo>
                    <a:lnTo>
                      <a:pt x="296" y="781"/>
                    </a:lnTo>
                    <a:lnTo>
                      <a:pt x="280" y="788"/>
                    </a:lnTo>
                    <a:lnTo>
                      <a:pt x="264" y="795"/>
                    </a:lnTo>
                    <a:lnTo>
                      <a:pt x="247" y="799"/>
                    </a:lnTo>
                    <a:lnTo>
                      <a:pt x="228" y="802"/>
                    </a:lnTo>
                    <a:lnTo>
                      <a:pt x="210" y="802"/>
                    </a:lnTo>
                    <a:close/>
                    <a:moveTo>
                      <a:pt x="390" y="515"/>
                    </a:moveTo>
                    <a:lnTo>
                      <a:pt x="389" y="511"/>
                    </a:lnTo>
                    <a:lnTo>
                      <a:pt x="388" y="508"/>
                    </a:lnTo>
                    <a:lnTo>
                      <a:pt x="269" y="240"/>
                    </a:lnTo>
                    <a:lnTo>
                      <a:pt x="268" y="238"/>
                    </a:lnTo>
                    <a:lnTo>
                      <a:pt x="266" y="236"/>
                    </a:lnTo>
                    <a:lnTo>
                      <a:pt x="208" y="178"/>
                    </a:lnTo>
                    <a:lnTo>
                      <a:pt x="154" y="31"/>
                    </a:lnTo>
                    <a:lnTo>
                      <a:pt x="153" y="28"/>
                    </a:lnTo>
                    <a:lnTo>
                      <a:pt x="151" y="26"/>
                    </a:lnTo>
                    <a:lnTo>
                      <a:pt x="145" y="20"/>
                    </a:lnTo>
                    <a:lnTo>
                      <a:pt x="137" y="15"/>
                    </a:lnTo>
                    <a:lnTo>
                      <a:pt x="129" y="11"/>
                    </a:lnTo>
                    <a:lnTo>
                      <a:pt x="119" y="6"/>
                    </a:lnTo>
                    <a:lnTo>
                      <a:pt x="109" y="4"/>
                    </a:lnTo>
                    <a:lnTo>
                      <a:pt x="100" y="2"/>
                    </a:lnTo>
                    <a:lnTo>
                      <a:pt x="89" y="0"/>
                    </a:lnTo>
                    <a:lnTo>
                      <a:pt x="77" y="0"/>
                    </a:lnTo>
                    <a:lnTo>
                      <a:pt x="66" y="0"/>
                    </a:lnTo>
                    <a:lnTo>
                      <a:pt x="56" y="2"/>
                    </a:lnTo>
                    <a:lnTo>
                      <a:pt x="45" y="4"/>
                    </a:lnTo>
                    <a:lnTo>
                      <a:pt x="35" y="6"/>
                    </a:lnTo>
                    <a:lnTo>
                      <a:pt x="27" y="11"/>
                    </a:lnTo>
                    <a:lnTo>
                      <a:pt x="18" y="15"/>
                    </a:lnTo>
                    <a:lnTo>
                      <a:pt x="11" y="20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1" y="31"/>
                    </a:lnTo>
                    <a:lnTo>
                      <a:pt x="0" y="33"/>
                    </a:lnTo>
                    <a:lnTo>
                      <a:pt x="0" y="36"/>
                    </a:lnTo>
                    <a:lnTo>
                      <a:pt x="0" y="263"/>
                    </a:lnTo>
                    <a:lnTo>
                      <a:pt x="14" y="265"/>
                    </a:lnTo>
                    <a:lnTo>
                      <a:pt x="28" y="267"/>
                    </a:lnTo>
                    <a:lnTo>
                      <a:pt x="42" y="270"/>
                    </a:lnTo>
                    <a:lnTo>
                      <a:pt x="55" y="273"/>
                    </a:lnTo>
                    <a:lnTo>
                      <a:pt x="66" y="278"/>
                    </a:lnTo>
                    <a:lnTo>
                      <a:pt x="77" y="282"/>
                    </a:lnTo>
                    <a:lnTo>
                      <a:pt x="88" y="287"/>
                    </a:lnTo>
                    <a:lnTo>
                      <a:pt x="97" y="293"/>
                    </a:lnTo>
                    <a:lnTo>
                      <a:pt x="106" y="299"/>
                    </a:lnTo>
                    <a:lnTo>
                      <a:pt x="114" y="306"/>
                    </a:lnTo>
                    <a:lnTo>
                      <a:pt x="120" y="312"/>
                    </a:lnTo>
                    <a:lnTo>
                      <a:pt x="125" y="320"/>
                    </a:lnTo>
                    <a:lnTo>
                      <a:pt x="130" y="327"/>
                    </a:lnTo>
                    <a:lnTo>
                      <a:pt x="133" y="336"/>
                    </a:lnTo>
                    <a:lnTo>
                      <a:pt x="134" y="343"/>
                    </a:lnTo>
                    <a:lnTo>
                      <a:pt x="135" y="352"/>
                    </a:lnTo>
                    <a:lnTo>
                      <a:pt x="135" y="355"/>
                    </a:lnTo>
                    <a:lnTo>
                      <a:pt x="134" y="358"/>
                    </a:lnTo>
                    <a:lnTo>
                      <a:pt x="133" y="360"/>
                    </a:lnTo>
                    <a:lnTo>
                      <a:pt x="131" y="362"/>
                    </a:lnTo>
                    <a:lnTo>
                      <a:pt x="129" y="365"/>
                    </a:lnTo>
                    <a:lnTo>
                      <a:pt x="125" y="366"/>
                    </a:lnTo>
                    <a:lnTo>
                      <a:pt x="123" y="367"/>
                    </a:lnTo>
                    <a:lnTo>
                      <a:pt x="120" y="367"/>
                    </a:lnTo>
                    <a:lnTo>
                      <a:pt x="117" y="367"/>
                    </a:lnTo>
                    <a:lnTo>
                      <a:pt x="115" y="366"/>
                    </a:lnTo>
                    <a:lnTo>
                      <a:pt x="111" y="365"/>
                    </a:lnTo>
                    <a:lnTo>
                      <a:pt x="109" y="362"/>
                    </a:lnTo>
                    <a:lnTo>
                      <a:pt x="107" y="360"/>
                    </a:lnTo>
                    <a:lnTo>
                      <a:pt x="106" y="358"/>
                    </a:lnTo>
                    <a:lnTo>
                      <a:pt x="105" y="355"/>
                    </a:lnTo>
                    <a:lnTo>
                      <a:pt x="105" y="352"/>
                    </a:lnTo>
                    <a:lnTo>
                      <a:pt x="105" y="347"/>
                    </a:lnTo>
                    <a:lnTo>
                      <a:pt x="103" y="342"/>
                    </a:lnTo>
                    <a:lnTo>
                      <a:pt x="101" y="338"/>
                    </a:lnTo>
                    <a:lnTo>
                      <a:pt x="97" y="333"/>
                    </a:lnTo>
                    <a:lnTo>
                      <a:pt x="93" y="328"/>
                    </a:lnTo>
                    <a:lnTo>
                      <a:pt x="89" y="324"/>
                    </a:lnTo>
                    <a:lnTo>
                      <a:pt x="82" y="320"/>
                    </a:lnTo>
                    <a:lnTo>
                      <a:pt x="76" y="315"/>
                    </a:lnTo>
                    <a:lnTo>
                      <a:pt x="61" y="308"/>
                    </a:lnTo>
                    <a:lnTo>
                      <a:pt x="43" y="301"/>
                    </a:lnTo>
                    <a:lnTo>
                      <a:pt x="22" y="297"/>
                    </a:lnTo>
                    <a:lnTo>
                      <a:pt x="0" y="293"/>
                    </a:lnTo>
                    <a:lnTo>
                      <a:pt x="0" y="626"/>
                    </a:lnTo>
                    <a:lnTo>
                      <a:pt x="0" y="626"/>
                    </a:lnTo>
                    <a:lnTo>
                      <a:pt x="0" y="627"/>
                    </a:lnTo>
                    <a:lnTo>
                      <a:pt x="2" y="648"/>
                    </a:lnTo>
                    <a:lnTo>
                      <a:pt x="5" y="669"/>
                    </a:lnTo>
                    <a:lnTo>
                      <a:pt x="11" y="688"/>
                    </a:lnTo>
                    <a:lnTo>
                      <a:pt x="18" y="707"/>
                    </a:lnTo>
                    <a:lnTo>
                      <a:pt x="27" y="725"/>
                    </a:lnTo>
                    <a:lnTo>
                      <a:pt x="37" y="742"/>
                    </a:lnTo>
                    <a:lnTo>
                      <a:pt x="49" y="758"/>
                    </a:lnTo>
                    <a:lnTo>
                      <a:pt x="63" y="772"/>
                    </a:lnTo>
                    <a:lnTo>
                      <a:pt x="78" y="786"/>
                    </a:lnTo>
                    <a:lnTo>
                      <a:pt x="94" y="798"/>
                    </a:lnTo>
                    <a:lnTo>
                      <a:pt x="111" y="807"/>
                    </a:lnTo>
                    <a:lnTo>
                      <a:pt x="130" y="816"/>
                    </a:lnTo>
                    <a:lnTo>
                      <a:pt x="149" y="823"/>
                    </a:lnTo>
                    <a:lnTo>
                      <a:pt x="168" y="829"/>
                    </a:lnTo>
                    <a:lnTo>
                      <a:pt x="189" y="831"/>
                    </a:lnTo>
                    <a:lnTo>
                      <a:pt x="210" y="832"/>
                    </a:lnTo>
                    <a:lnTo>
                      <a:pt x="221" y="832"/>
                    </a:lnTo>
                    <a:lnTo>
                      <a:pt x="232" y="831"/>
                    </a:lnTo>
                    <a:lnTo>
                      <a:pt x="242" y="830"/>
                    </a:lnTo>
                    <a:lnTo>
                      <a:pt x="253" y="828"/>
                    </a:lnTo>
                    <a:lnTo>
                      <a:pt x="272" y="823"/>
                    </a:lnTo>
                    <a:lnTo>
                      <a:pt x="292" y="816"/>
                    </a:lnTo>
                    <a:lnTo>
                      <a:pt x="311" y="807"/>
                    </a:lnTo>
                    <a:lnTo>
                      <a:pt x="328" y="797"/>
                    </a:lnTo>
                    <a:lnTo>
                      <a:pt x="344" y="785"/>
                    </a:lnTo>
                    <a:lnTo>
                      <a:pt x="359" y="771"/>
                    </a:lnTo>
                    <a:lnTo>
                      <a:pt x="372" y="756"/>
                    </a:lnTo>
                    <a:lnTo>
                      <a:pt x="385" y="740"/>
                    </a:lnTo>
                    <a:lnTo>
                      <a:pt x="396" y="723"/>
                    </a:lnTo>
                    <a:lnTo>
                      <a:pt x="404" y="704"/>
                    </a:lnTo>
                    <a:lnTo>
                      <a:pt x="411" y="685"/>
                    </a:lnTo>
                    <a:lnTo>
                      <a:pt x="416" y="665"/>
                    </a:lnTo>
                    <a:lnTo>
                      <a:pt x="418" y="654"/>
                    </a:lnTo>
                    <a:lnTo>
                      <a:pt x="419" y="643"/>
                    </a:lnTo>
                    <a:lnTo>
                      <a:pt x="420" y="633"/>
                    </a:lnTo>
                    <a:lnTo>
                      <a:pt x="420" y="622"/>
                    </a:lnTo>
                    <a:lnTo>
                      <a:pt x="420" y="608"/>
                    </a:lnTo>
                    <a:lnTo>
                      <a:pt x="418" y="593"/>
                    </a:lnTo>
                    <a:lnTo>
                      <a:pt x="416" y="579"/>
                    </a:lnTo>
                    <a:lnTo>
                      <a:pt x="413" y="565"/>
                    </a:lnTo>
                    <a:lnTo>
                      <a:pt x="408" y="552"/>
                    </a:lnTo>
                    <a:lnTo>
                      <a:pt x="403" y="539"/>
                    </a:lnTo>
                    <a:lnTo>
                      <a:pt x="397" y="526"/>
                    </a:lnTo>
                    <a:lnTo>
                      <a:pt x="390" y="5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3860"/>
              <p:cNvSpPr>
                <a:spLocks noEditPoints="1"/>
              </p:cNvSpPr>
              <p:nvPr/>
            </p:nvSpPr>
            <p:spPr bwMode="auto">
              <a:xfrm>
                <a:off x="9879013" y="2500313"/>
                <a:ext cx="133350" cy="265113"/>
              </a:xfrm>
              <a:custGeom>
                <a:avLst/>
                <a:gdLst>
                  <a:gd name="T0" fmla="*/ 382 w 421"/>
                  <a:gd name="T1" fmla="*/ 676 h 832"/>
                  <a:gd name="T2" fmla="*/ 349 w 421"/>
                  <a:gd name="T3" fmla="*/ 737 h 832"/>
                  <a:gd name="T4" fmla="*/ 296 w 421"/>
                  <a:gd name="T5" fmla="*/ 781 h 832"/>
                  <a:gd name="T6" fmla="*/ 229 w 421"/>
                  <a:gd name="T7" fmla="*/ 802 h 832"/>
                  <a:gd name="T8" fmla="*/ 157 w 421"/>
                  <a:gd name="T9" fmla="*/ 795 h 832"/>
                  <a:gd name="T10" fmla="*/ 96 w 421"/>
                  <a:gd name="T11" fmla="*/ 761 h 832"/>
                  <a:gd name="T12" fmla="*/ 52 w 421"/>
                  <a:gd name="T13" fmla="*/ 708 h 832"/>
                  <a:gd name="T14" fmla="*/ 30 w 421"/>
                  <a:gd name="T15" fmla="*/ 640 h 832"/>
                  <a:gd name="T16" fmla="*/ 35 w 421"/>
                  <a:gd name="T17" fmla="*/ 582 h 832"/>
                  <a:gd name="T18" fmla="*/ 53 w 421"/>
                  <a:gd name="T19" fmla="*/ 534 h 832"/>
                  <a:gd name="T20" fmla="*/ 103 w 421"/>
                  <a:gd name="T21" fmla="*/ 481 h 832"/>
                  <a:gd name="T22" fmla="*/ 139 w 421"/>
                  <a:gd name="T23" fmla="*/ 459 h 832"/>
                  <a:gd name="T24" fmla="*/ 177 w 421"/>
                  <a:gd name="T25" fmla="*/ 447 h 832"/>
                  <a:gd name="T26" fmla="*/ 216 w 421"/>
                  <a:gd name="T27" fmla="*/ 444 h 832"/>
                  <a:gd name="T28" fmla="*/ 260 w 421"/>
                  <a:gd name="T29" fmla="*/ 454 h 832"/>
                  <a:gd name="T30" fmla="*/ 322 w 421"/>
                  <a:gd name="T31" fmla="*/ 490 h 832"/>
                  <a:gd name="T32" fmla="*/ 368 w 421"/>
                  <a:gd name="T33" fmla="*/ 546 h 832"/>
                  <a:gd name="T34" fmla="*/ 390 w 421"/>
                  <a:gd name="T35" fmla="*/ 607 h 832"/>
                  <a:gd name="T36" fmla="*/ 332 w 421"/>
                  <a:gd name="T37" fmla="*/ 0 h 832"/>
                  <a:gd name="T38" fmla="*/ 292 w 421"/>
                  <a:gd name="T39" fmla="*/ 11 h 832"/>
                  <a:gd name="T40" fmla="*/ 267 w 421"/>
                  <a:gd name="T41" fmla="*/ 28 h 832"/>
                  <a:gd name="T42" fmla="*/ 153 w 421"/>
                  <a:gd name="T43" fmla="*/ 238 h 832"/>
                  <a:gd name="T44" fmla="*/ 30 w 421"/>
                  <a:gd name="T45" fmla="*/ 514 h 832"/>
                  <a:gd name="T46" fmla="*/ 8 w 421"/>
                  <a:gd name="T47" fmla="*/ 565 h 832"/>
                  <a:gd name="T48" fmla="*/ 0 w 421"/>
                  <a:gd name="T49" fmla="*/ 622 h 832"/>
                  <a:gd name="T50" fmla="*/ 5 w 421"/>
                  <a:gd name="T51" fmla="*/ 665 h 832"/>
                  <a:gd name="T52" fmla="*/ 36 w 421"/>
                  <a:gd name="T53" fmla="*/ 740 h 832"/>
                  <a:gd name="T54" fmla="*/ 93 w 421"/>
                  <a:gd name="T55" fmla="*/ 797 h 832"/>
                  <a:gd name="T56" fmla="*/ 168 w 421"/>
                  <a:gd name="T57" fmla="*/ 828 h 832"/>
                  <a:gd name="T58" fmla="*/ 211 w 421"/>
                  <a:gd name="T59" fmla="*/ 832 h 832"/>
                  <a:gd name="T60" fmla="*/ 291 w 421"/>
                  <a:gd name="T61" fmla="*/ 816 h 832"/>
                  <a:gd name="T62" fmla="*/ 358 w 421"/>
                  <a:gd name="T63" fmla="*/ 772 h 832"/>
                  <a:gd name="T64" fmla="*/ 403 w 421"/>
                  <a:gd name="T65" fmla="*/ 708 h 832"/>
                  <a:gd name="T66" fmla="*/ 421 w 421"/>
                  <a:gd name="T67" fmla="*/ 627 h 832"/>
                  <a:gd name="T68" fmla="*/ 398 w 421"/>
                  <a:gd name="T69" fmla="*/ 297 h 832"/>
                  <a:gd name="T70" fmla="*/ 337 w 421"/>
                  <a:gd name="T71" fmla="*/ 320 h 832"/>
                  <a:gd name="T72" fmla="*/ 320 w 421"/>
                  <a:gd name="T73" fmla="*/ 338 h 832"/>
                  <a:gd name="T74" fmla="*/ 316 w 421"/>
                  <a:gd name="T75" fmla="*/ 355 h 832"/>
                  <a:gd name="T76" fmla="*/ 309 w 421"/>
                  <a:gd name="T77" fmla="*/ 365 h 832"/>
                  <a:gd name="T78" fmla="*/ 297 w 421"/>
                  <a:gd name="T79" fmla="*/ 367 h 832"/>
                  <a:gd name="T80" fmla="*/ 288 w 421"/>
                  <a:gd name="T81" fmla="*/ 360 h 832"/>
                  <a:gd name="T82" fmla="*/ 286 w 421"/>
                  <a:gd name="T83" fmla="*/ 343 h 832"/>
                  <a:gd name="T84" fmla="*/ 301 w 421"/>
                  <a:gd name="T85" fmla="*/ 312 h 832"/>
                  <a:gd name="T86" fmla="*/ 333 w 421"/>
                  <a:gd name="T87" fmla="*/ 287 h 832"/>
                  <a:gd name="T88" fmla="*/ 379 w 421"/>
                  <a:gd name="T89" fmla="*/ 270 h 832"/>
                  <a:gd name="T90" fmla="*/ 421 w 421"/>
                  <a:gd name="T91" fmla="*/ 36 h 832"/>
                  <a:gd name="T92" fmla="*/ 417 w 421"/>
                  <a:gd name="T93" fmla="*/ 26 h 832"/>
                  <a:gd name="T94" fmla="*/ 384 w 421"/>
                  <a:gd name="T95" fmla="*/ 6 h 832"/>
                  <a:gd name="T96" fmla="*/ 343 w 421"/>
                  <a:gd name="T9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832">
                    <a:moveTo>
                      <a:pt x="391" y="622"/>
                    </a:moveTo>
                    <a:lnTo>
                      <a:pt x="390" y="640"/>
                    </a:lnTo>
                    <a:lnTo>
                      <a:pt x="386" y="658"/>
                    </a:lnTo>
                    <a:lnTo>
                      <a:pt x="382" y="676"/>
                    </a:lnTo>
                    <a:lnTo>
                      <a:pt x="377" y="693"/>
                    </a:lnTo>
                    <a:lnTo>
                      <a:pt x="369" y="708"/>
                    </a:lnTo>
                    <a:lnTo>
                      <a:pt x="360" y="723"/>
                    </a:lnTo>
                    <a:lnTo>
                      <a:pt x="349" y="737"/>
                    </a:lnTo>
                    <a:lnTo>
                      <a:pt x="338" y="749"/>
                    </a:lnTo>
                    <a:lnTo>
                      <a:pt x="325" y="761"/>
                    </a:lnTo>
                    <a:lnTo>
                      <a:pt x="311" y="772"/>
                    </a:lnTo>
                    <a:lnTo>
                      <a:pt x="296" y="781"/>
                    </a:lnTo>
                    <a:lnTo>
                      <a:pt x="280" y="788"/>
                    </a:lnTo>
                    <a:lnTo>
                      <a:pt x="264" y="795"/>
                    </a:lnTo>
                    <a:lnTo>
                      <a:pt x="247" y="799"/>
                    </a:lnTo>
                    <a:lnTo>
                      <a:pt x="229" y="802"/>
                    </a:lnTo>
                    <a:lnTo>
                      <a:pt x="211" y="802"/>
                    </a:lnTo>
                    <a:lnTo>
                      <a:pt x="192" y="802"/>
                    </a:lnTo>
                    <a:lnTo>
                      <a:pt x="174" y="799"/>
                    </a:lnTo>
                    <a:lnTo>
                      <a:pt x="157" y="795"/>
                    </a:lnTo>
                    <a:lnTo>
                      <a:pt x="140" y="788"/>
                    </a:lnTo>
                    <a:lnTo>
                      <a:pt x="125" y="781"/>
                    </a:lnTo>
                    <a:lnTo>
                      <a:pt x="110" y="772"/>
                    </a:lnTo>
                    <a:lnTo>
                      <a:pt x="96" y="761"/>
                    </a:lnTo>
                    <a:lnTo>
                      <a:pt x="83" y="749"/>
                    </a:lnTo>
                    <a:lnTo>
                      <a:pt x="71" y="737"/>
                    </a:lnTo>
                    <a:lnTo>
                      <a:pt x="60" y="723"/>
                    </a:lnTo>
                    <a:lnTo>
                      <a:pt x="52" y="708"/>
                    </a:lnTo>
                    <a:lnTo>
                      <a:pt x="44" y="693"/>
                    </a:lnTo>
                    <a:lnTo>
                      <a:pt x="38" y="676"/>
                    </a:lnTo>
                    <a:lnTo>
                      <a:pt x="34" y="658"/>
                    </a:lnTo>
                    <a:lnTo>
                      <a:pt x="30" y="640"/>
                    </a:lnTo>
                    <a:lnTo>
                      <a:pt x="30" y="622"/>
                    </a:lnTo>
                    <a:lnTo>
                      <a:pt x="30" y="609"/>
                    </a:lnTo>
                    <a:lnTo>
                      <a:pt x="33" y="595"/>
                    </a:lnTo>
                    <a:lnTo>
                      <a:pt x="35" y="582"/>
                    </a:lnTo>
                    <a:lnTo>
                      <a:pt x="38" y="569"/>
                    </a:lnTo>
                    <a:lnTo>
                      <a:pt x="42" y="556"/>
                    </a:lnTo>
                    <a:lnTo>
                      <a:pt x="48" y="545"/>
                    </a:lnTo>
                    <a:lnTo>
                      <a:pt x="53" y="534"/>
                    </a:lnTo>
                    <a:lnTo>
                      <a:pt x="60" y="522"/>
                    </a:lnTo>
                    <a:lnTo>
                      <a:pt x="77" y="505"/>
                    </a:lnTo>
                    <a:lnTo>
                      <a:pt x="94" y="489"/>
                    </a:lnTo>
                    <a:lnTo>
                      <a:pt x="103" y="481"/>
                    </a:lnTo>
                    <a:lnTo>
                      <a:pt x="112" y="475"/>
                    </a:lnTo>
                    <a:lnTo>
                      <a:pt x="121" y="470"/>
                    </a:lnTo>
                    <a:lnTo>
                      <a:pt x="130" y="464"/>
                    </a:lnTo>
                    <a:lnTo>
                      <a:pt x="139" y="459"/>
                    </a:lnTo>
                    <a:lnTo>
                      <a:pt x="148" y="456"/>
                    </a:lnTo>
                    <a:lnTo>
                      <a:pt x="158" y="451"/>
                    </a:lnTo>
                    <a:lnTo>
                      <a:pt x="168" y="449"/>
                    </a:lnTo>
                    <a:lnTo>
                      <a:pt x="177" y="447"/>
                    </a:lnTo>
                    <a:lnTo>
                      <a:pt x="187" y="445"/>
                    </a:lnTo>
                    <a:lnTo>
                      <a:pt x="197" y="444"/>
                    </a:lnTo>
                    <a:lnTo>
                      <a:pt x="206" y="444"/>
                    </a:lnTo>
                    <a:lnTo>
                      <a:pt x="216" y="444"/>
                    </a:lnTo>
                    <a:lnTo>
                      <a:pt x="225" y="445"/>
                    </a:lnTo>
                    <a:lnTo>
                      <a:pt x="234" y="446"/>
                    </a:lnTo>
                    <a:lnTo>
                      <a:pt x="243" y="448"/>
                    </a:lnTo>
                    <a:lnTo>
                      <a:pt x="260" y="454"/>
                    </a:lnTo>
                    <a:lnTo>
                      <a:pt x="277" y="460"/>
                    </a:lnTo>
                    <a:lnTo>
                      <a:pt x="293" y="469"/>
                    </a:lnTo>
                    <a:lnTo>
                      <a:pt x="308" y="479"/>
                    </a:lnTo>
                    <a:lnTo>
                      <a:pt x="322" y="490"/>
                    </a:lnTo>
                    <a:lnTo>
                      <a:pt x="336" y="503"/>
                    </a:lnTo>
                    <a:lnTo>
                      <a:pt x="348" y="517"/>
                    </a:lnTo>
                    <a:lnTo>
                      <a:pt x="359" y="531"/>
                    </a:lnTo>
                    <a:lnTo>
                      <a:pt x="368" y="546"/>
                    </a:lnTo>
                    <a:lnTo>
                      <a:pt x="376" y="561"/>
                    </a:lnTo>
                    <a:lnTo>
                      <a:pt x="382" y="576"/>
                    </a:lnTo>
                    <a:lnTo>
                      <a:pt x="386" y="592"/>
                    </a:lnTo>
                    <a:lnTo>
                      <a:pt x="390" y="607"/>
                    </a:lnTo>
                    <a:lnTo>
                      <a:pt x="391" y="622"/>
                    </a:lnTo>
                    <a:lnTo>
                      <a:pt x="391" y="622"/>
                    </a:lnTo>
                    <a:close/>
                    <a:moveTo>
                      <a:pt x="343" y="0"/>
                    </a:moveTo>
                    <a:lnTo>
                      <a:pt x="332" y="0"/>
                    </a:lnTo>
                    <a:lnTo>
                      <a:pt x="321" y="2"/>
                    </a:lnTo>
                    <a:lnTo>
                      <a:pt x="310" y="4"/>
                    </a:lnTo>
                    <a:lnTo>
                      <a:pt x="301" y="6"/>
                    </a:lnTo>
                    <a:lnTo>
                      <a:pt x="292" y="11"/>
                    </a:lnTo>
                    <a:lnTo>
                      <a:pt x="284" y="15"/>
                    </a:lnTo>
                    <a:lnTo>
                      <a:pt x="276" y="20"/>
                    </a:lnTo>
                    <a:lnTo>
                      <a:pt x="270" y="26"/>
                    </a:lnTo>
                    <a:lnTo>
                      <a:pt x="267" y="28"/>
                    </a:lnTo>
                    <a:lnTo>
                      <a:pt x="266" y="31"/>
                    </a:lnTo>
                    <a:lnTo>
                      <a:pt x="213" y="178"/>
                    </a:lnTo>
                    <a:lnTo>
                      <a:pt x="155" y="236"/>
                    </a:lnTo>
                    <a:lnTo>
                      <a:pt x="153" y="238"/>
                    </a:lnTo>
                    <a:lnTo>
                      <a:pt x="152" y="240"/>
                    </a:lnTo>
                    <a:lnTo>
                      <a:pt x="31" y="510"/>
                    </a:lnTo>
                    <a:lnTo>
                      <a:pt x="31" y="513"/>
                    </a:lnTo>
                    <a:lnTo>
                      <a:pt x="30" y="514"/>
                    </a:lnTo>
                    <a:lnTo>
                      <a:pt x="24" y="525"/>
                    </a:lnTo>
                    <a:lnTo>
                      <a:pt x="18" y="538"/>
                    </a:lnTo>
                    <a:lnTo>
                      <a:pt x="12" y="551"/>
                    </a:lnTo>
                    <a:lnTo>
                      <a:pt x="8" y="565"/>
                    </a:lnTo>
                    <a:lnTo>
                      <a:pt x="5" y="579"/>
                    </a:lnTo>
                    <a:lnTo>
                      <a:pt x="3" y="593"/>
                    </a:lnTo>
                    <a:lnTo>
                      <a:pt x="0" y="607"/>
                    </a:lnTo>
                    <a:lnTo>
                      <a:pt x="0" y="622"/>
                    </a:lnTo>
                    <a:lnTo>
                      <a:pt x="0" y="633"/>
                    </a:lnTo>
                    <a:lnTo>
                      <a:pt x="1" y="643"/>
                    </a:lnTo>
                    <a:lnTo>
                      <a:pt x="3" y="654"/>
                    </a:lnTo>
                    <a:lnTo>
                      <a:pt x="5" y="665"/>
                    </a:lnTo>
                    <a:lnTo>
                      <a:pt x="9" y="685"/>
                    </a:lnTo>
                    <a:lnTo>
                      <a:pt x="16" y="704"/>
                    </a:lnTo>
                    <a:lnTo>
                      <a:pt x="25" y="723"/>
                    </a:lnTo>
                    <a:lnTo>
                      <a:pt x="36" y="740"/>
                    </a:lnTo>
                    <a:lnTo>
                      <a:pt x="48" y="756"/>
                    </a:lnTo>
                    <a:lnTo>
                      <a:pt x="62" y="771"/>
                    </a:lnTo>
                    <a:lnTo>
                      <a:pt x="77" y="785"/>
                    </a:lnTo>
                    <a:lnTo>
                      <a:pt x="93" y="797"/>
                    </a:lnTo>
                    <a:lnTo>
                      <a:pt x="110" y="807"/>
                    </a:lnTo>
                    <a:lnTo>
                      <a:pt x="128" y="816"/>
                    </a:lnTo>
                    <a:lnTo>
                      <a:pt x="147" y="823"/>
                    </a:lnTo>
                    <a:lnTo>
                      <a:pt x="168" y="828"/>
                    </a:lnTo>
                    <a:lnTo>
                      <a:pt x="178" y="830"/>
                    </a:lnTo>
                    <a:lnTo>
                      <a:pt x="189" y="831"/>
                    </a:lnTo>
                    <a:lnTo>
                      <a:pt x="200" y="832"/>
                    </a:lnTo>
                    <a:lnTo>
                      <a:pt x="211" y="832"/>
                    </a:lnTo>
                    <a:lnTo>
                      <a:pt x="232" y="831"/>
                    </a:lnTo>
                    <a:lnTo>
                      <a:pt x="252" y="829"/>
                    </a:lnTo>
                    <a:lnTo>
                      <a:pt x="272" y="823"/>
                    </a:lnTo>
                    <a:lnTo>
                      <a:pt x="291" y="816"/>
                    </a:lnTo>
                    <a:lnTo>
                      <a:pt x="309" y="807"/>
                    </a:lnTo>
                    <a:lnTo>
                      <a:pt x="326" y="798"/>
                    </a:lnTo>
                    <a:lnTo>
                      <a:pt x="343" y="786"/>
                    </a:lnTo>
                    <a:lnTo>
                      <a:pt x="358" y="772"/>
                    </a:lnTo>
                    <a:lnTo>
                      <a:pt x="370" y="758"/>
                    </a:lnTo>
                    <a:lnTo>
                      <a:pt x="383" y="742"/>
                    </a:lnTo>
                    <a:lnTo>
                      <a:pt x="394" y="725"/>
                    </a:lnTo>
                    <a:lnTo>
                      <a:pt x="403" y="708"/>
                    </a:lnTo>
                    <a:lnTo>
                      <a:pt x="410" y="688"/>
                    </a:lnTo>
                    <a:lnTo>
                      <a:pt x="415" y="669"/>
                    </a:lnTo>
                    <a:lnTo>
                      <a:pt x="419" y="648"/>
                    </a:lnTo>
                    <a:lnTo>
                      <a:pt x="421" y="627"/>
                    </a:lnTo>
                    <a:lnTo>
                      <a:pt x="421" y="626"/>
                    </a:lnTo>
                    <a:lnTo>
                      <a:pt x="421" y="626"/>
                    </a:lnTo>
                    <a:lnTo>
                      <a:pt x="421" y="293"/>
                    </a:lnTo>
                    <a:lnTo>
                      <a:pt x="398" y="297"/>
                    </a:lnTo>
                    <a:lnTo>
                      <a:pt x="377" y="301"/>
                    </a:lnTo>
                    <a:lnTo>
                      <a:pt x="360" y="308"/>
                    </a:lnTo>
                    <a:lnTo>
                      <a:pt x="344" y="315"/>
                    </a:lnTo>
                    <a:lnTo>
                      <a:pt x="337" y="320"/>
                    </a:lnTo>
                    <a:lnTo>
                      <a:pt x="332" y="324"/>
                    </a:lnTo>
                    <a:lnTo>
                      <a:pt x="328" y="328"/>
                    </a:lnTo>
                    <a:lnTo>
                      <a:pt x="323" y="333"/>
                    </a:lnTo>
                    <a:lnTo>
                      <a:pt x="320" y="338"/>
                    </a:lnTo>
                    <a:lnTo>
                      <a:pt x="318" y="342"/>
                    </a:lnTo>
                    <a:lnTo>
                      <a:pt x="316" y="347"/>
                    </a:lnTo>
                    <a:lnTo>
                      <a:pt x="316" y="352"/>
                    </a:lnTo>
                    <a:lnTo>
                      <a:pt x="316" y="355"/>
                    </a:lnTo>
                    <a:lnTo>
                      <a:pt x="315" y="358"/>
                    </a:lnTo>
                    <a:lnTo>
                      <a:pt x="312" y="360"/>
                    </a:lnTo>
                    <a:lnTo>
                      <a:pt x="311" y="362"/>
                    </a:lnTo>
                    <a:lnTo>
                      <a:pt x="309" y="365"/>
                    </a:lnTo>
                    <a:lnTo>
                      <a:pt x="306" y="366"/>
                    </a:lnTo>
                    <a:lnTo>
                      <a:pt x="304" y="367"/>
                    </a:lnTo>
                    <a:lnTo>
                      <a:pt x="301" y="367"/>
                    </a:lnTo>
                    <a:lnTo>
                      <a:pt x="297" y="367"/>
                    </a:lnTo>
                    <a:lnTo>
                      <a:pt x="294" y="366"/>
                    </a:lnTo>
                    <a:lnTo>
                      <a:pt x="292" y="365"/>
                    </a:lnTo>
                    <a:lnTo>
                      <a:pt x="290" y="362"/>
                    </a:lnTo>
                    <a:lnTo>
                      <a:pt x="288" y="360"/>
                    </a:lnTo>
                    <a:lnTo>
                      <a:pt x="287" y="358"/>
                    </a:lnTo>
                    <a:lnTo>
                      <a:pt x="286" y="355"/>
                    </a:lnTo>
                    <a:lnTo>
                      <a:pt x="286" y="352"/>
                    </a:lnTo>
                    <a:lnTo>
                      <a:pt x="286" y="343"/>
                    </a:lnTo>
                    <a:lnTo>
                      <a:pt x="288" y="336"/>
                    </a:lnTo>
                    <a:lnTo>
                      <a:pt x="291" y="327"/>
                    </a:lnTo>
                    <a:lnTo>
                      <a:pt x="295" y="320"/>
                    </a:lnTo>
                    <a:lnTo>
                      <a:pt x="301" y="312"/>
                    </a:lnTo>
                    <a:lnTo>
                      <a:pt x="307" y="306"/>
                    </a:lnTo>
                    <a:lnTo>
                      <a:pt x="315" y="299"/>
                    </a:lnTo>
                    <a:lnTo>
                      <a:pt x="323" y="293"/>
                    </a:lnTo>
                    <a:lnTo>
                      <a:pt x="333" y="287"/>
                    </a:lnTo>
                    <a:lnTo>
                      <a:pt x="344" y="282"/>
                    </a:lnTo>
                    <a:lnTo>
                      <a:pt x="354" y="278"/>
                    </a:lnTo>
                    <a:lnTo>
                      <a:pt x="366" y="273"/>
                    </a:lnTo>
                    <a:lnTo>
                      <a:pt x="379" y="270"/>
                    </a:lnTo>
                    <a:lnTo>
                      <a:pt x="392" y="267"/>
                    </a:lnTo>
                    <a:lnTo>
                      <a:pt x="406" y="265"/>
                    </a:lnTo>
                    <a:lnTo>
                      <a:pt x="421" y="263"/>
                    </a:lnTo>
                    <a:lnTo>
                      <a:pt x="421" y="36"/>
                    </a:lnTo>
                    <a:lnTo>
                      <a:pt x="421" y="33"/>
                    </a:lnTo>
                    <a:lnTo>
                      <a:pt x="420" y="31"/>
                    </a:lnTo>
                    <a:lnTo>
                      <a:pt x="419" y="28"/>
                    </a:lnTo>
                    <a:lnTo>
                      <a:pt x="417" y="26"/>
                    </a:lnTo>
                    <a:lnTo>
                      <a:pt x="410" y="20"/>
                    </a:lnTo>
                    <a:lnTo>
                      <a:pt x="403" y="15"/>
                    </a:lnTo>
                    <a:lnTo>
                      <a:pt x="394" y="11"/>
                    </a:lnTo>
                    <a:lnTo>
                      <a:pt x="384" y="6"/>
                    </a:lnTo>
                    <a:lnTo>
                      <a:pt x="375" y="4"/>
                    </a:lnTo>
                    <a:lnTo>
                      <a:pt x="365" y="2"/>
                    </a:lnTo>
                    <a:lnTo>
                      <a:pt x="354" y="0"/>
                    </a:lnTo>
                    <a:lnTo>
                      <a:pt x="343" y="0"/>
                    </a:lnTo>
                    <a:lnTo>
                      <a:pt x="3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3861"/>
              <p:cNvSpPr>
                <a:spLocks/>
              </p:cNvSpPr>
              <p:nvPr/>
            </p:nvSpPr>
            <p:spPr bwMode="auto">
              <a:xfrm>
                <a:off x="9902825" y="2659063"/>
                <a:ext cx="46038" cy="46038"/>
              </a:xfrm>
              <a:custGeom>
                <a:avLst/>
                <a:gdLst>
                  <a:gd name="T0" fmla="*/ 2 w 144"/>
                  <a:gd name="T1" fmla="*/ 132 h 143"/>
                  <a:gd name="T2" fmla="*/ 4 w 144"/>
                  <a:gd name="T3" fmla="*/ 137 h 143"/>
                  <a:gd name="T4" fmla="*/ 7 w 144"/>
                  <a:gd name="T5" fmla="*/ 140 h 143"/>
                  <a:gd name="T6" fmla="*/ 12 w 144"/>
                  <a:gd name="T7" fmla="*/ 143 h 143"/>
                  <a:gd name="T8" fmla="*/ 19 w 144"/>
                  <a:gd name="T9" fmla="*/ 143 h 143"/>
                  <a:gd name="T10" fmla="*/ 24 w 144"/>
                  <a:gd name="T11" fmla="*/ 140 h 143"/>
                  <a:gd name="T12" fmla="*/ 28 w 144"/>
                  <a:gd name="T13" fmla="*/ 137 h 143"/>
                  <a:gd name="T14" fmla="*/ 31 w 144"/>
                  <a:gd name="T15" fmla="*/ 132 h 143"/>
                  <a:gd name="T16" fmla="*/ 32 w 144"/>
                  <a:gd name="T17" fmla="*/ 118 h 143"/>
                  <a:gd name="T18" fmla="*/ 35 w 144"/>
                  <a:gd name="T19" fmla="*/ 98 h 143"/>
                  <a:gd name="T20" fmla="*/ 42 w 144"/>
                  <a:gd name="T21" fmla="*/ 81 h 143"/>
                  <a:gd name="T22" fmla="*/ 53 w 144"/>
                  <a:gd name="T23" fmla="*/ 65 h 143"/>
                  <a:gd name="T24" fmla="*/ 67 w 144"/>
                  <a:gd name="T25" fmla="*/ 52 h 143"/>
                  <a:gd name="T26" fmla="*/ 82 w 144"/>
                  <a:gd name="T27" fmla="*/ 41 h 143"/>
                  <a:gd name="T28" fmla="*/ 100 w 144"/>
                  <a:gd name="T29" fmla="*/ 34 h 143"/>
                  <a:gd name="T30" fmla="*/ 120 w 144"/>
                  <a:gd name="T31" fmla="*/ 30 h 143"/>
                  <a:gd name="T32" fmla="*/ 132 w 144"/>
                  <a:gd name="T33" fmla="*/ 30 h 143"/>
                  <a:gd name="T34" fmla="*/ 138 w 144"/>
                  <a:gd name="T35" fmla="*/ 26 h 143"/>
                  <a:gd name="T36" fmla="*/ 142 w 144"/>
                  <a:gd name="T37" fmla="*/ 23 h 143"/>
                  <a:gd name="T38" fmla="*/ 144 w 144"/>
                  <a:gd name="T39" fmla="*/ 18 h 143"/>
                  <a:gd name="T40" fmla="*/ 144 w 144"/>
                  <a:gd name="T41" fmla="*/ 11 h 143"/>
                  <a:gd name="T42" fmla="*/ 142 w 144"/>
                  <a:gd name="T43" fmla="*/ 6 h 143"/>
                  <a:gd name="T44" fmla="*/ 138 w 144"/>
                  <a:gd name="T45" fmla="*/ 2 h 143"/>
                  <a:gd name="T46" fmla="*/ 132 w 144"/>
                  <a:gd name="T47" fmla="*/ 0 h 143"/>
                  <a:gd name="T48" fmla="*/ 116 w 144"/>
                  <a:gd name="T49" fmla="*/ 0 h 143"/>
                  <a:gd name="T50" fmla="*/ 92 w 144"/>
                  <a:gd name="T51" fmla="*/ 5 h 143"/>
                  <a:gd name="T52" fmla="*/ 68 w 144"/>
                  <a:gd name="T53" fmla="*/ 15 h 143"/>
                  <a:gd name="T54" fmla="*/ 48 w 144"/>
                  <a:gd name="T55" fmla="*/ 29 h 143"/>
                  <a:gd name="T56" fmla="*/ 31 w 144"/>
                  <a:gd name="T57" fmla="*/ 46 h 143"/>
                  <a:gd name="T58" fmla="*/ 17 w 144"/>
                  <a:gd name="T59" fmla="*/ 67 h 143"/>
                  <a:gd name="T60" fmla="*/ 7 w 144"/>
                  <a:gd name="T61" fmla="*/ 90 h 143"/>
                  <a:gd name="T62" fmla="*/ 2 w 144"/>
                  <a:gd name="T63" fmla="*/ 11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4" h="143">
                    <a:moveTo>
                      <a:pt x="0" y="128"/>
                    </a:moveTo>
                    <a:lnTo>
                      <a:pt x="2" y="132"/>
                    </a:lnTo>
                    <a:lnTo>
                      <a:pt x="2" y="134"/>
                    </a:lnTo>
                    <a:lnTo>
                      <a:pt x="4" y="137"/>
                    </a:lnTo>
                    <a:lnTo>
                      <a:pt x="5" y="139"/>
                    </a:lnTo>
                    <a:lnTo>
                      <a:pt x="7" y="140"/>
                    </a:lnTo>
                    <a:lnTo>
                      <a:pt x="10" y="142"/>
                    </a:lnTo>
                    <a:lnTo>
                      <a:pt x="12" y="143"/>
                    </a:lnTo>
                    <a:lnTo>
                      <a:pt x="15" y="143"/>
                    </a:lnTo>
                    <a:lnTo>
                      <a:pt x="19" y="143"/>
                    </a:lnTo>
                    <a:lnTo>
                      <a:pt x="22" y="142"/>
                    </a:lnTo>
                    <a:lnTo>
                      <a:pt x="24" y="140"/>
                    </a:lnTo>
                    <a:lnTo>
                      <a:pt x="26" y="139"/>
                    </a:lnTo>
                    <a:lnTo>
                      <a:pt x="28" y="137"/>
                    </a:lnTo>
                    <a:lnTo>
                      <a:pt x="29" y="134"/>
                    </a:lnTo>
                    <a:lnTo>
                      <a:pt x="31" y="132"/>
                    </a:lnTo>
                    <a:lnTo>
                      <a:pt x="31" y="128"/>
                    </a:lnTo>
                    <a:lnTo>
                      <a:pt x="32" y="118"/>
                    </a:lnTo>
                    <a:lnTo>
                      <a:pt x="33" y="108"/>
                    </a:lnTo>
                    <a:lnTo>
                      <a:pt x="35" y="98"/>
                    </a:lnTo>
                    <a:lnTo>
                      <a:pt x="39" y="90"/>
                    </a:lnTo>
                    <a:lnTo>
                      <a:pt x="42" y="81"/>
                    </a:lnTo>
                    <a:lnTo>
                      <a:pt x="48" y="73"/>
                    </a:lnTo>
                    <a:lnTo>
                      <a:pt x="53" y="65"/>
                    </a:lnTo>
                    <a:lnTo>
                      <a:pt x="59" y="59"/>
                    </a:lnTo>
                    <a:lnTo>
                      <a:pt x="67" y="52"/>
                    </a:lnTo>
                    <a:lnTo>
                      <a:pt x="74" y="47"/>
                    </a:lnTo>
                    <a:lnTo>
                      <a:pt x="82" y="41"/>
                    </a:lnTo>
                    <a:lnTo>
                      <a:pt x="92" y="37"/>
                    </a:lnTo>
                    <a:lnTo>
                      <a:pt x="100" y="34"/>
                    </a:lnTo>
                    <a:lnTo>
                      <a:pt x="110" y="32"/>
                    </a:lnTo>
                    <a:lnTo>
                      <a:pt x="120" y="30"/>
                    </a:lnTo>
                    <a:lnTo>
                      <a:pt x="129" y="30"/>
                    </a:lnTo>
                    <a:lnTo>
                      <a:pt x="132" y="30"/>
                    </a:lnTo>
                    <a:lnTo>
                      <a:pt x="136" y="29"/>
                    </a:lnTo>
                    <a:lnTo>
                      <a:pt x="138" y="26"/>
                    </a:lnTo>
                    <a:lnTo>
                      <a:pt x="140" y="25"/>
                    </a:lnTo>
                    <a:lnTo>
                      <a:pt x="142" y="23"/>
                    </a:lnTo>
                    <a:lnTo>
                      <a:pt x="143" y="20"/>
                    </a:lnTo>
                    <a:lnTo>
                      <a:pt x="144" y="18"/>
                    </a:lnTo>
                    <a:lnTo>
                      <a:pt x="144" y="15"/>
                    </a:lnTo>
                    <a:lnTo>
                      <a:pt x="144" y="11"/>
                    </a:lnTo>
                    <a:lnTo>
                      <a:pt x="143" y="8"/>
                    </a:lnTo>
                    <a:lnTo>
                      <a:pt x="142" y="6"/>
                    </a:lnTo>
                    <a:lnTo>
                      <a:pt x="140" y="4"/>
                    </a:lnTo>
                    <a:lnTo>
                      <a:pt x="138" y="2"/>
                    </a:lnTo>
                    <a:lnTo>
                      <a:pt x="136" y="1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3" y="2"/>
                    </a:lnTo>
                    <a:lnTo>
                      <a:pt x="92" y="5"/>
                    </a:lnTo>
                    <a:lnTo>
                      <a:pt x="80" y="9"/>
                    </a:lnTo>
                    <a:lnTo>
                      <a:pt x="68" y="15"/>
                    </a:lnTo>
                    <a:lnTo>
                      <a:pt x="57" y="21"/>
                    </a:lnTo>
                    <a:lnTo>
                      <a:pt x="48" y="29"/>
                    </a:lnTo>
                    <a:lnTo>
                      <a:pt x="38" y="37"/>
                    </a:lnTo>
                    <a:lnTo>
                      <a:pt x="31" y="46"/>
                    </a:lnTo>
                    <a:lnTo>
                      <a:pt x="23" y="56"/>
                    </a:lnTo>
                    <a:lnTo>
                      <a:pt x="17" y="67"/>
                    </a:lnTo>
                    <a:lnTo>
                      <a:pt x="11" y="78"/>
                    </a:lnTo>
                    <a:lnTo>
                      <a:pt x="7" y="90"/>
                    </a:lnTo>
                    <a:lnTo>
                      <a:pt x="4" y="103"/>
                    </a:lnTo>
                    <a:lnTo>
                      <a:pt x="2" y="115"/>
                    </a:lnTo>
                    <a:lnTo>
                      <a:pt x="0" y="1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3862"/>
              <p:cNvSpPr>
                <a:spLocks/>
              </p:cNvSpPr>
              <p:nvPr/>
            </p:nvSpPr>
            <p:spPr bwMode="auto">
              <a:xfrm>
                <a:off x="10059988" y="2659063"/>
                <a:ext cx="44450" cy="46038"/>
              </a:xfrm>
              <a:custGeom>
                <a:avLst/>
                <a:gdLst>
                  <a:gd name="T0" fmla="*/ 115 w 144"/>
                  <a:gd name="T1" fmla="*/ 0 h 143"/>
                  <a:gd name="T2" fmla="*/ 90 w 144"/>
                  <a:gd name="T3" fmla="*/ 5 h 143"/>
                  <a:gd name="T4" fmla="*/ 66 w 144"/>
                  <a:gd name="T5" fmla="*/ 15 h 143"/>
                  <a:gd name="T6" fmla="*/ 46 w 144"/>
                  <a:gd name="T7" fmla="*/ 29 h 143"/>
                  <a:gd name="T8" fmla="*/ 29 w 144"/>
                  <a:gd name="T9" fmla="*/ 46 h 143"/>
                  <a:gd name="T10" fmla="*/ 15 w 144"/>
                  <a:gd name="T11" fmla="*/ 67 h 143"/>
                  <a:gd name="T12" fmla="*/ 5 w 144"/>
                  <a:gd name="T13" fmla="*/ 90 h 143"/>
                  <a:gd name="T14" fmla="*/ 0 w 144"/>
                  <a:gd name="T15" fmla="*/ 115 h 143"/>
                  <a:gd name="T16" fmla="*/ 0 w 144"/>
                  <a:gd name="T17" fmla="*/ 132 h 143"/>
                  <a:gd name="T18" fmla="*/ 2 w 144"/>
                  <a:gd name="T19" fmla="*/ 137 h 143"/>
                  <a:gd name="T20" fmla="*/ 6 w 144"/>
                  <a:gd name="T21" fmla="*/ 140 h 143"/>
                  <a:gd name="T22" fmla="*/ 12 w 144"/>
                  <a:gd name="T23" fmla="*/ 143 h 143"/>
                  <a:gd name="T24" fmla="*/ 17 w 144"/>
                  <a:gd name="T25" fmla="*/ 143 h 143"/>
                  <a:gd name="T26" fmla="*/ 22 w 144"/>
                  <a:gd name="T27" fmla="*/ 140 h 143"/>
                  <a:gd name="T28" fmla="*/ 27 w 144"/>
                  <a:gd name="T29" fmla="*/ 137 h 143"/>
                  <a:gd name="T30" fmla="*/ 29 w 144"/>
                  <a:gd name="T31" fmla="*/ 132 h 143"/>
                  <a:gd name="T32" fmla="*/ 30 w 144"/>
                  <a:gd name="T33" fmla="*/ 118 h 143"/>
                  <a:gd name="T34" fmla="*/ 34 w 144"/>
                  <a:gd name="T35" fmla="*/ 98 h 143"/>
                  <a:gd name="T36" fmla="*/ 42 w 144"/>
                  <a:gd name="T37" fmla="*/ 81 h 143"/>
                  <a:gd name="T38" fmla="*/ 52 w 144"/>
                  <a:gd name="T39" fmla="*/ 65 h 143"/>
                  <a:gd name="T40" fmla="*/ 65 w 144"/>
                  <a:gd name="T41" fmla="*/ 52 h 143"/>
                  <a:gd name="T42" fmla="*/ 81 w 144"/>
                  <a:gd name="T43" fmla="*/ 41 h 143"/>
                  <a:gd name="T44" fmla="*/ 98 w 144"/>
                  <a:gd name="T45" fmla="*/ 34 h 143"/>
                  <a:gd name="T46" fmla="*/ 118 w 144"/>
                  <a:gd name="T47" fmla="*/ 30 h 143"/>
                  <a:gd name="T48" fmla="*/ 131 w 144"/>
                  <a:gd name="T49" fmla="*/ 30 h 143"/>
                  <a:gd name="T50" fmla="*/ 136 w 144"/>
                  <a:gd name="T51" fmla="*/ 26 h 143"/>
                  <a:gd name="T52" fmla="*/ 140 w 144"/>
                  <a:gd name="T53" fmla="*/ 23 h 143"/>
                  <a:gd name="T54" fmla="*/ 142 w 144"/>
                  <a:gd name="T55" fmla="*/ 18 h 143"/>
                  <a:gd name="T56" fmla="*/ 142 w 144"/>
                  <a:gd name="T57" fmla="*/ 11 h 143"/>
                  <a:gd name="T58" fmla="*/ 140 w 144"/>
                  <a:gd name="T59" fmla="*/ 6 h 143"/>
                  <a:gd name="T60" fmla="*/ 136 w 144"/>
                  <a:gd name="T61" fmla="*/ 2 h 143"/>
                  <a:gd name="T62" fmla="*/ 131 w 144"/>
                  <a:gd name="T63" fmla="*/ 0 h 143"/>
                  <a:gd name="T64" fmla="*/ 129 w 144"/>
                  <a:gd name="T65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4" h="143">
                    <a:moveTo>
                      <a:pt x="129" y="0"/>
                    </a:moveTo>
                    <a:lnTo>
                      <a:pt x="115" y="0"/>
                    </a:lnTo>
                    <a:lnTo>
                      <a:pt x="102" y="2"/>
                    </a:lnTo>
                    <a:lnTo>
                      <a:pt x="90" y="5"/>
                    </a:lnTo>
                    <a:lnTo>
                      <a:pt x="78" y="9"/>
                    </a:lnTo>
                    <a:lnTo>
                      <a:pt x="66" y="15"/>
                    </a:lnTo>
                    <a:lnTo>
                      <a:pt x="57" y="21"/>
                    </a:lnTo>
                    <a:lnTo>
                      <a:pt x="46" y="29"/>
                    </a:lnTo>
                    <a:lnTo>
                      <a:pt x="37" y="37"/>
                    </a:lnTo>
                    <a:lnTo>
                      <a:pt x="29" y="46"/>
                    </a:lnTo>
                    <a:lnTo>
                      <a:pt x="21" y="56"/>
                    </a:lnTo>
                    <a:lnTo>
                      <a:pt x="15" y="67"/>
                    </a:lnTo>
                    <a:lnTo>
                      <a:pt x="9" y="78"/>
                    </a:lnTo>
                    <a:lnTo>
                      <a:pt x="5" y="90"/>
                    </a:lnTo>
                    <a:lnTo>
                      <a:pt x="2" y="103"/>
                    </a:lnTo>
                    <a:lnTo>
                      <a:pt x="0" y="115"/>
                    </a:lnTo>
                    <a:lnTo>
                      <a:pt x="0" y="128"/>
                    </a:lnTo>
                    <a:lnTo>
                      <a:pt x="0" y="132"/>
                    </a:lnTo>
                    <a:lnTo>
                      <a:pt x="1" y="134"/>
                    </a:lnTo>
                    <a:lnTo>
                      <a:pt x="2" y="137"/>
                    </a:lnTo>
                    <a:lnTo>
                      <a:pt x="4" y="139"/>
                    </a:lnTo>
                    <a:lnTo>
                      <a:pt x="6" y="140"/>
                    </a:lnTo>
                    <a:lnTo>
                      <a:pt x="8" y="142"/>
                    </a:lnTo>
                    <a:lnTo>
                      <a:pt x="12" y="143"/>
                    </a:lnTo>
                    <a:lnTo>
                      <a:pt x="15" y="143"/>
                    </a:lnTo>
                    <a:lnTo>
                      <a:pt x="17" y="143"/>
                    </a:lnTo>
                    <a:lnTo>
                      <a:pt x="20" y="142"/>
                    </a:lnTo>
                    <a:lnTo>
                      <a:pt x="22" y="140"/>
                    </a:lnTo>
                    <a:lnTo>
                      <a:pt x="24" y="139"/>
                    </a:lnTo>
                    <a:lnTo>
                      <a:pt x="27" y="137"/>
                    </a:lnTo>
                    <a:lnTo>
                      <a:pt x="28" y="134"/>
                    </a:lnTo>
                    <a:lnTo>
                      <a:pt x="29" y="132"/>
                    </a:lnTo>
                    <a:lnTo>
                      <a:pt x="30" y="128"/>
                    </a:lnTo>
                    <a:lnTo>
                      <a:pt x="30" y="118"/>
                    </a:lnTo>
                    <a:lnTo>
                      <a:pt x="31" y="108"/>
                    </a:lnTo>
                    <a:lnTo>
                      <a:pt x="34" y="98"/>
                    </a:lnTo>
                    <a:lnTo>
                      <a:pt x="37" y="90"/>
                    </a:lnTo>
                    <a:lnTo>
                      <a:pt x="42" y="81"/>
                    </a:lnTo>
                    <a:lnTo>
                      <a:pt x="46" y="73"/>
                    </a:lnTo>
                    <a:lnTo>
                      <a:pt x="52" y="65"/>
                    </a:lnTo>
                    <a:lnTo>
                      <a:pt x="59" y="59"/>
                    </a:lnTo>
                    <a:lnTo>
                      <a:pt x="65" y="52"/>
                    </a:lnTo>
                    <a:lnTo>
                      <a:pt x="73" y="47"/>
                    </a:lnTo>
                    <a:lnTo>
                      <a:pt x="81" y="41"/>
                    </a:lnTo>
                    <a:lnTo>
                      <a:pt x="90" y="37"/>
                    </a:lnTo>
                    <a:lnTo>
                      <a:pt x="98" y="34"/>
                    </a:lnTo>
                    <a:lnTo>
                      <a:pt x="108" y="32"/>
                    </a:lnTo>
                    <a:lnTo>
                      <a:pt x="118" y="30"/>
                    </a:lnTo>
                    <a:lnTo>
                      <a:pt x="129" y="30"/>
                    </a:lnTo>
                    <a:lnTo>
                      <a:pt x="131" y="30"/>
                    </a:lnTo>
                    <a:lnTo>
                      <a:pt x="134" y="29"/>
                    </a:lnTo>
                    <a:lnTo>
                      <a:pt x="136" y="26"/>
                    </a:lnTo>
                    <a:lnTo>
                      <a:pt x="138" y="25"/>
                    </a:lnTo>
                    <a:lnTo>
                      <a:pt x="140" y="23"/>
                    </a:lnTo>
                    <a:lnTo>
                      <a:pt x="141" y="20"/>
                    </a:lnTo>
                    <a:lnTo>
                      <a:pt x="142" y="18"/>
                    </a:lnTo>
                    <a:lnTo>
                      <a:pt x="144" y="15"/>
                    </a:lnTo>
                    <a:lnTo>
                      <a:pt x="142" y="11"/>
                    </a:lnTo>
                    <a:lnTo>
                      <a:pt x="141" y="8"/>
                    </a:lnTo>
                    <a:lnTo>
                      <a:pt x="140" y="6"/>
                    </a:lnTo>
                    <a:lnTo>
                      <a:pt x="138" y="4"/>
                    </a:lnTo>
                    <a:lnTo>
                      <a:pt x="136" y="2"/>
                    </a:lnTo>
                    <a:lnTo>
                      <a:pt x="134" y="1"/>
                    </a:lnTo>
                    <a:lnTo>
                      <a:pt x="131" y="0"/>
                    </a:lnTo>
                    <a:lnTo>
                      <a:pt x="129" y="0"/>
                    </a:lnTo>
                    <a:lnTo>
                      <a:pt x="1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71" name="Freeform 3091"/>
            <p:cNvSpPr>
              <a:spLocks noEditPoints="1"/>
            </p:cNvSpPr>
            <p:nvPr/>
          </p:nvSpPr>
          <p:spPr bwMode="auto">
            <a:xfrm>
              <a:off x="6868970" y="4251700"/>
              <a:ext cx="312740" cy="312740"/>
            </a:xfrm>
            <a:custGeom>
              <a:avLst/>
              <a:gdLst>
                <a:gd name="T0" fmla="*/ 175 w 360"/>
                <a:gd name="T1" fmla="*/ 322 h 359"/>
                <a:gd name="T2" fmla="*/ 166 w 360"/>
                <a:gd name="T3" fmla="*/ 319 h 359"/>
                <a:gd name="T4" fmla="*/ 161 w 360"/>
                <a:gd name="T5" fmla="*/ 313 h 359"/>
                <a:gd name="T6" fmla="*/ 157 w 360"/>
                <a:gd name="T7" fmla="*/ 303 h 359"/>
                <a:gd name="T8" fmla="*/ 157 w 360"/>
                <a:gd name="T9" fmla="*/ 294 h 359"/>
                <a:gd name="T10" fmla="*/ 161 w 360"/>
                <a:gd name="T11" fmla="*/ 286 h 359"/>
                <a:gd name="T12" fmla="*/ 166 w 360"/>
                <a:gd name="T13" fmla="*/ 280 h 359"/>
                <a:gd name="T14" fmla="*/ 175 w 360"/>
                <a:gd name="T15" fmla="*/ 276 h 359"/>
                <a:gd name="T16" fmla="*/ 184 w 360"/>
                <a:gd name="T17" fmla="*/ 276 h 359"/>
                <a:gd name="T18" fmla="*/ 194 w 360"/>
                <a:gd name="T19" fmla="*/ 280 h 359"/>
                <a:gd name="T20" fmla="*/ 200 w 360"/>
                <a:gd name="T21" fmla="*/ 286 h 359"/>
                <a:gd name="T22" fmla="*/ 203 w 360"/>
                <a:gd name="T23" fmla="*/ 294 h 359"/>
                <a:gd name="T24" fmla="*/ 203 w 360"/>
                <a:gd name="T25" fmla="*/ 303 h 359"/>
                <a:gd name="T26" fmla="*/ 200 w 360"/>
                <a:gd name="T27" fmla="*/ 313 h 359"/>
                <a:gd name="T28" fmla="*/ 194 w 360"/>
                <a:gd name="T29" fmla="*/ 319 h 359"/>
                <a:gd name="T30" fmla="*/ 184 w 360"/>
                <a:gd name="T31" fmla="*/ 322 h 359"/>
                <a:gd name="T32" fmla="*/ 168 w 360"/>
                <a:gd name="T33" fmla="*/ 140 h 359"/>
                <a:gd name="T34" fmla="*/ 171 w 360"/>
                <a:gd name="T35" fmla="*/ 132 h 359"/>
                <a:gd name="T36" fmla="*/ 180 w 360"/>
                <a:gd name="T37" fmla="*/ 128 h 359"/>
                <a:gd name="T38" fmla="*/ 188 w 360"/>
                <a:gd name="T39" fmla="*/ 132 h 359"/>
                <a:gd name="T40" fmla="*/ 191 w 360"/>
                <a:gd name="T41" fmla="*/ 140 h 359"/>
                <a:gd name="T42" fmla="*/ 191 w 360"/>
                <a:gd name="T43" fmla="*/ 244 h 359"/>
                <a:gd name="T44" fmla="*/ 184 w 360"/>
                <a:gd name="T45" fmla="*/ 250 h 359"/>
                <a:gd name="T46" fmla="*/ 175 w 360"/>
                <a:gd name="T47" fmla="*/ 250 h 359"/>
                <a:gd name="T48" fmla="*/ 169 w 360"/>
                <a:gd name="T49" fmla="*/ 244 h 359"/>
                <a:gd name="T50" fmla="*/ 168 w 360"/>
                <a:gd name="T51" fmla="*/ 140 h 359"/>
                <a:gd name="T52" fmla="*/ 190 w 360"/>
                <a:gd name="T53" fmla="*/ 6 h 359"/>
                <a:gd name="T54" fmla="*/ 187 w 360"/>
                <a:gd name="T55" fmla="*/ 1 h 359"/>
                <a:gd name="T56" fmla="*/ 180 w 360"/>
                <a:gd name="T57" fmla="*/ 0 h 359"/>
                <a:gd name="T58" fmla="*/ 174 w 360"/>
                <a:gd name="T59" fmla="*/ 1 h 359"/>
                <a:gd name="T60" fmla="*/ 169 w 360"/>
                <a:gd name="T61" fmla="*/ 6 h 359"/>
                <a:gd name="T62" fmla="*/ 1 w 360"/>
                <a:gd name="T63" fmla="*/ 344 h 359"/>
                <a:gd name="T64" fmla="*/ 1 w 360"/>
                <a:gd name="T65" fmla="*/ 351 h 359"/>
                <a:gd name="T66" fmla="*/ 4 w 360"/>
                <a:gd name="T67" fmla="*/ 356 h 359"/>
                <a:gd name="T68" fmla="*/ 9 w 360"/>
                <a:gd name="T69" fmla="*/ 358 h 359"/>
                <a:gd name="T70" fmla="*/ 347 w 360"/>
                <a:gd name="T71" fmla="*/ 359 h 359"/>
                <a:gd name="T72" fmla="*/ 348 w 360"/>
                <a:gd name="T73" fmla="*/ 359 h 359"/>
                <a:gd name="T74" fmla="*/ 357 w 360"/>
                <a:gd name="T75" fmla="*/ 356 h 359"/>
                <a:gd name="T76" fmla="*/ 360 w 360"/>
                <a:gd name="T77" fmla="*/ 347 h 359"/>
                <a:gd name="T78" fmla="*/ 358 w 360"/>
                <a:gd name="T79" fmla="*/ 34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0" h="359">
                  <a:moveTo>
                    <a:pt x="180" y="322"/>
                  </a:moveTo>
                  <a:lnTo>
                    <a:pt x="175" y="322"/>
                  </a:lnTo>
                  <a:lnTo>
                    <a:pt x="171" y="321"/>
                  </a:lnTo>
                  <a:lnTo>
                    <a:pt x="166" y="319"/>
                  </a:lnTo>
                  <a:lnTo>
                    <a:pt x="163" y="316"/>
                  </a:lnTo>
                  <a:lnTo>
                    <a:pt x="161" y="313"/>
                  </a:lnTo>
                  <a:lnTo>
                    <a:pt x="158" y="308"/>
                  </a:lnTo>
                  <a:lnTo>
                    <a:pt x="157" y="303"/>
                  </a:lnTo>
                  <a:lnTo>
                    <a:pt x="156" y="299"/>
                  </a:lnTo>
                  <a:lnTo>
                    <a:pt x="157" y="294"/>
                  </a:lnTo>
                  <a:lnTo>
                    <a:pt x="158" y="290"/>
                  </a:lnTo>
                  <a:lnTo>
                    <a:pt x="161" y="286"/>
                  </a:lnTo>
                  <a:lnTo>
                    <a:pt x="163" y="282"/>
                  </a:lnTo>
                  <a:lnTo>
                    <a:pt x="166" y="280"/>
                  </a:lnTo>
                  <a:lnTo>
                    <a:pt x="171" y="277"/>
                  </a:lnTo>
                  <a:lnTo>
                    <a:pt x="175" y="276"/>
                  </a:lnTo>
                  <a:lnTo>
                    <a:pt x="180" y="275"/>
                  </a:lnTo>
                  <a:lnTo>
                    <a:pt x="184" y="276"/>
                  </a:lnTo>
                  <a:lnTo>
                    <a:pt x="189" y="277"/>
                  </a:lnTo>
                  <a:lnTo>
                    <a:pt x="194" y="280"/>
                  </a:lnTo>
                  <a:lnTo>
                    <a:pt x="197" y="282"/>
                  </a:lnTo>
                  <a:lnTo>
                    <a:pt x="200" y="286"/>
                  </a:lnTo>
                  <a:lnTo>
                    <a:pt x="202" y="290"/>
                  </a:lnTo>
                  <a:lnTo>
                    <a:pt x="203" y="294"/>
                  </a:lnTo>
                  <a:lnTo>
                    <a:pt x="205" y="299"/>
                  </a:lnTo>
                  <a:lnTo>
                    <a:pt x="203" y="303"/>
                  </a:lnTo>
                  <a:lnTo>
                    <a:pt x="202" y="308"/>
                  </a:lnTo>
                  <a:lnTo>
                    <a:pt x="200" y="313"/>
                  </a:lnTo>
                  <a:lnTo>
                    <a:pt x="197" y="316"/>
                  </a:lnTo>
                  <a:lnTo>
                    <a:pt x="194" y="319"/>
                  </a:lnTo>
                  <a:lnTo>
                    <a:pt x="189" y="321"/>
                  </a:lnTo>
                  <a:lnTo>
                    <a:pt x="184" y="322"/>
                  </a:lnTo>
                  <a:lnTo>
                    <a:pt x="180" y="322"/>
                  </a:lnTo>
                  <a:close/>
                  <a:moveTo>
                    <a:pt x="168" y="140"/>
                  </a:moveTo>
                  <a:lnTo>
                    <a:pt x="169" y="136"/>
                  </a:lnTo>
                  <a:lnTo>
                    <a:pt x="171" y="132"/>
                  </a:lnTo>
                  <a:lnTo>
                    <a:pt x="175" y="130"/>
                  </a:lnTo>
                  <a:lnTo>
                    <a:pt x="180" y="128"/>
                  </a:lnTo>
                  <a:lnTo>
                    <a:pt x="184" y="130"/>
                  </a:lnTo>
                  <a:lnTo>
                    <a:pt x="188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91" y="239"/>
                  </a:lnTo>
                  <a:lnTo>
                    <a:pt x="191" y="244"/>
                  </a:lnTo>
                  <a:lnTo>
                    <a:pt x="188" y="247"/>
                  </a:lnTo>
                  <a:lnTo>
                    <a:pt x="184" y="250"/>
                  </a:lnTo>
                  <a:lnTo>
                    <a:pt x="180" y="251"/>
                  </a:lnTo>
                  <a:lnTo>
                    <a:pt x="175" y="250"/>
                  </a:lnTo>
                  <a:lnTo>
                    <a:pt x="171" y="247"/>
                  </a:lnTo>
                  <a:lnTo>
                    <a:pt x="169" y="244"/>
                  </a:lnTo>
                  <a:lnTo>
                    <a:pt x="168" y="239"/>
                  </a:lnTo>
                  <a:lnTo>
                    <a:pt x="168" y="140"/>
                  </a:lnTo>
                  <a:close/>
                  <a:moveTo>
                    <a:pt x="358" y="339"/>
                  </a:moveTo>
                  <a:lnTo>
                    <a:pt x="190" y="6"/>
                  </a:lnTo>
                  <a:lnTo>
                    <a:pt x="189" y="4"/>
                  </a:lnTo>
                  <a:lnTo>
                    <a:pt x="187" y="1"/>
                  </a:lnTo>
                  <a:lnTo>
                    <a:pt x="183" y="0"/>
                  </a:lnTo>
                  <a:lnTo>
                    <a:pt x="180" y="0"/>
                  </a:lnTo>
                  <a:lnTo>
                    <a:pt x="177" y="0"/>
                  </a:lnTo>
                  <a:lnTo>
                    <a:pt x="174" y="1"/>
                  </a:lnTo>
                  <a:lnTo>
                    <a:pt x="171" y="4"/>
                  </a:lnTo>
                  <a:lnTo>
                    <a:pt x="169" y="6"/>
                  </a:lnTo>
                  <a:lnTo>
                    <a:pt x="1" y="341"/>
                  </a:lnTo>
                  <a:lnTo>
                    <a:pt x="1" y="344"/>
                  </a:lnTo>
                  <a:lnTo>
                    <a:pt x="0" y="347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6"/>
                  </a:lnTo>
                  <a:lnTo>
                    <a:pt x="7" y="357"/>
                  </a:lnTo>
                  <a:lnTo>
                    <a:pt x="9" y="358"/>
                  </a:lnTo>
                  <a:lnTo>
                    <a:pt x="12" y="359"/>
                  </a:lnTo>
                  <a:lnTo>
                    <a:pt x="347" y="359"/>
                  </a:lnTo>
                  <a:lnTo>
                    <a:pt x="347" y="359"/>
                  </a:lnTo>
                  <a:lnTo>
                    <a:pt x="348" y="359"/>
                  </a:lnTo>
                  <a:lnTo>
                    <a:pt x="352" y="358"/>
                  </a:lnTo>
                  <a:lnTo>
                    <a:pt x="357" y="356"/>
                  </a:lnTo>
                  <a:lnTo>
                    <a:pt x="359" y="352"/>
                  </a:lnTo>
                  <a:lnTo>
                    <a:pt x="360" y="347"/>
                  </a:lnTo>
                  <a:lnTo>
                    <a:pt x="359" y="343"/>
                  </a:lnTo>
                  <a:lnTo>
                    <a:pt x="358" y="340"/>
                  </a:lnTo>
                  <a:lnTo>
                    <a:pt x="358" y="339"/>
                  </a:ln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581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BAR CHART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9" name="Freeform 194"/>
          <p:cNvSpPr>
            <a:spLocks noChangeAspect="1"/>
          </p:cNvSpPr>
          <p:nvPr/>
        </p:nvSpPr>
        <p:spPr>
          <a:xfrm>
            <a:off x="3714450" y="1769241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0" name="Freeform 195"/>
          <p:cNvSpPr>
            <a:spLocks noChangeAspect="1"/>
          </p:cNvSpPr>
          <p:nvPr/>
        </p:nvSpPr>
        <p:spPr>
          <a:xfrm>
            <a:off x="3714450" y="5052171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1" name="Freeform 196"/>
          <p:cNvSpPr>
            <a:spLocks noChangeAspect="1"/>
          </p:cNvSpPr>
          <p:nvPr/>
        </p:nvSpPr>
        <p:spPr>
          <a:xfrm>
            <a:off x="3714450" y="4505017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2" name="Freeform 197"/>
          <p:cNvSpPr>
            <a:spLocks noChangeAspect="1"/>
          </p:cNvSpPr>
          <p:nvPr/>
        </p:nvSpPr>
        <p:spPr>
          <a:xfrm>
            <a:off x="3714450" y="3957862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3" name="Freeform 198"/>
          <p:cNvSpPr>
            <a:spLocks noChangeAspect="1"/>
          </p:cNvSpPr>
          <p:nvPr/>
        </p:nvSpPr>
        <p:spPr>
          <a:xfrm>
            <a:off x="3714450" y="3410707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4" name="Freeform 199"/>
          <p:cNvSpPr>
            <a:spLocks noChangeAspect="1"/>
          </p:cNvSpPr>
          <p:nvPr/>
        </p:nvSpPr>
        <p:spPr>
          <a:xfrm>
            <a:off x="3714450" y="2863551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5" name="Freeform 200"/>
          <p:cNvSpPr>
            <a:spLocks noChangeAspect="1"/>
          </p:cNvSpPr>
          <p:nvPr/>
        </p:nvSpPr>
        <p:spPr>
          <a:xfrm>
            <a:off x="3714450" y="2316397"/>
            <a:ext cx="6364899" cy="226675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innerShdw blurRad="63500" dist="50800" dir="16200000">
              <a:prstClr val="black">
                <a:alpha val="3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2458804" y="1798181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2458804" y="3481864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2458804" y="2922852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2458804" y="4014705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2458804" y="4547547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2458804" y="5091743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458804" y="2368495"/>
            <a:ext cx="1149911" cy="16158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LOREM IPSUM 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06" name="Rounded Rectangle 205"/>
          <p:cNvSpPr/>
          <p:nvPr/>
        </p:nvSpPr>
        <p:spPr>
          <a:xfrm>
            <a:off x="3747006" y="2347230"/>
            <a:ext cx="5352343" cy="170006"/>
          </a:xfrm>
          <a:prstGeom prst="roundRect">
            <a:avLst/>
          </a:pr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7" name="Rounded Rectangle 206"/>
          <p:cNvSpPr/>
          <p:nvPr/>
        </p:nvSpPr>
        <p:spPr>
          <a:xfrm>
            <a:off x="3747006" y="1800074"/>
            <a:ext cx="5761522" cy="170006"/>
          </a:xfrm>
          <a:prstGeom prst="roundRect">
            <a:avLst/>
          </a:pr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8" name="Rounded Rectangle 207"/>
          <p:cNvSpPr/>
          <p:nvPr/>
        </p:nvSpPr>
        <p:spPr>
          <a:xfrm>
            <a:off x="3747007" y="5083004"/>
            <a:ext cx="2717867" cy="170006"/>
          </a:xfrm>
          <a:prstGeom prst="roundRect">
            <a:avLst/>
          </a:prstGeom>
          <a:solidFill>
            <a:srgbClr val="FEA34F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9" name="Rounded Rectangle 208"/>
          <p:cNvSpPr/>
          <p:nvPr/>
        </p:nvSpPr>
        <p:spPr>
          <a:xfrm>
            <a:off x="3747006" y="4535850"/>
            <a:ext cx="2926904" cy="170006"/>
          </a:xfrm>
          <a:prstGeom prst="roundRect">
            <a:avLst/>
          </a:pr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0" name="Rounded Rectangle 209"/>
          <p:cNvSpPr/>
          <p:nvPr/>
        </p:nvSpPr>
        <p:spPr>
          <a:xfrm>
            <a:off x="3747006" y="3988695"/>
            <a:ext cx="3272788" cy="170006"/>
          </a:xfrm>
          <a:prstGeom prst="roundRect">
            <a:avLst/>
          </a:pr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1" name="Rounded Rectangle 210"/>
          <p:cNvSpPr/>
          <p:nvPr/>
        </p:nvSpPr>
        <p:spPr>
          <a:xfrm>
            <a:off x="3747007" y="3441540"/>
            <a:ext cx="3708800" cy="170006"/>
          </a:xfrm>
          <a:prstGeom prst="roundRect">
            <a:avLst/>
          </a:prstGeom>
          <a:solidFill>
            <a:srgbClr val="AAAAAA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2" name="Rounded Rectangle 211"/>
          <p:cNvSpPr/>
          <p:nvPr/>
        </p:nvSpPr>
        <p:spPr>
          <a:xfrm>
            <a:off x="3747007" y="2894384"/>
            <a:ext cx="4468424" cy="170006"/>
          </a:xfrm>
          <a:prstGeom prst="roundRect">
            <a:avLst/>
          </a:prstGeom>
          <a:solidFill>
            <a:srgbClr val="FEA34F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213" name="Straight Connector 212"/>
          <p:cNvCxnSpPr/>
          <p:nvPr/>
        </p:nvCxnSpPr>
        <p:spPr>
          <a:xfrm>
            <a:off x="4000026" y="1391913"/>
            <a:ext cx="0" cy="4264260"/>
          </a:xfrm>
          <a:prstGeom prst="line">
            <a:avLst/>
          </a:prstGeom>
          <a:ln w="6350">
            <a:solidFill>
              <a:srgbClr val="AD9C88">
                <a:alpha val="50000"/>
              </a:srgb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9793771" y="1391913"/>
            <a:ext cx="0" cy="4264260"/>
          </a:xfrm>
          <a:prstGeom prst="line">
            <a:avLst/>
          </a:prstGeom>
          <a:ln w="6350">
            <a:solidFill>
              <a:srgbClr val="AD9C88">
                <a:alpha val="50000"/>
              </a:srgb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Freeform 1496"/>
          <p:cNvSpPr>
            <a:spLocks noEditPoints="1"/>
          </p:cNvSpPr>
          <p:nvPr/>
        </p:nvSpPr>
        <p:spPr bwMode="auto">
          <a:xfrm>
            <a:off x="2208735" y="1735303"/>
            <a:ext cx="220663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Freeform 3073"/>
          <p:cNvSpPr>
            <a:spLocks noEditPoints="1"/>
          </p:cNvSpPr>
          <p:nvPr/>
        </p:nvSpPr>
        <p:spPr bwMode="auto">
          <a:xfrm>
            <a:off x="2176191" y="2303703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17" name="Group 216"/>
          <p:cNvGrpSpPr/>
          <p:nvPr/>
        </p:nvGrpSpPr>
        <p:grpSpPr>
          <a:xfrm>
            <a:off x="2207148" y="2860768"/>
            <a:ext cx="223837" cy="285750"/>
            <a:chOff x="6469063" y="4656138"/>
            <a:chExt cx="223837" cy="285750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8" name="Freeform 4608"/>
            <p:cNvSpPr>
              <a:spLocks noEditPoints="1"/>
            </p:cNvSpPr>
            <p:nvPr/>
          </p:nvSpPr>
          <p:spPr bwMode="auto">
            <a:xfrm>
              <a:off x="6483350" y="4789488"/>
              <a:ext cx="209550" cy="152400"/>
            </a:xfrm>
            <a:custGeom>
              <a:avLst/>
              <a:gdLst>
                <a:gd name="T0" fmla="*/ 512 w 663"/>
                <a:gd name="T1" fmla="*/ 241 h 482"/>
                <a:gd name="T2" fmla="*/ 542 w 663"/>
                <a:gd name="T3" fmla="*/ 61 h 482"/>
                <a:gd name="T4" fmla="*/ 561 w 663"/>
                <a:gd name="T5" fmla="*/ 62 h 482"/>
                <a:gd name="T6" fmla="*/ 578 w 663"/>
                <a:gd name="T7" fmla="*/ 68 h 482"/>
                <a:gd name="T8" fmla="*/ 594 w 663"/>
                <a:gd name="T9" fmla="*/ 75 h 482"/>
                <a:gd name="T10" fmla="*/ 608 w 663"/>
                <a:gd name="T11" fmla="*/ 86 h 482"/>
                <a:gd name="T12" fmla="*/ 618 w 663"/>
                <a:gd name="T13" fmla="*/ 99 h 482"/>
                <a:gd name="T14" fmla="*/ 626 w 663"/>
                <a:gd name="T15" fmla="*/ 114 h 482"/>
                <a:gd name="T16" fmla="*/ 630 w 663"/>
                <a:gd name="T17" fmla="*/ 132 h 482"/>
                <a:gd name="T18" fmla="*/ 632 w 663"/>
                <a:gd name="T19" fmla="*/ 151 h 482"/>
                <a:gd name="T20" fmla="*/ 630 w 663"/>
                <a:gd name="T21" fmla="*/ 170 h 482"/>
                <a:gd name="T22" fmla="*/ 626 w 663"/>
                <a:gd name="T23" fmla="*/ 187 h 482"/>
                <a:gd name="T24" fmla="*/ 618 w 663"/>
                <a:gd name="T25" fmla="*/ 203 h 482"/>
                <a:gd name="T26" fmla="*/ 608 w 663"/>
                <a:gd name="T27" fmla="*/ 215 h 482"/>
                <a:gd name="T28" fmla="*/ 594 w 663"/>
                <a:gd name="T29" fmla="*/ 227 h 482"/>
                <a:gd name="T30" fmla="*/ 578 w 663"/>
                <a:gd name="T31" fmla="*/ 235 h 482"/>
                <a:gd name="T32" fmla="*/ 561 w 663"/>
                <a:gd name="T33" fmla="*/ 239 h 482"/>
                <a:gd name="T34" fmla="*/ 542 w 663"/>
                <a:gd name="T35" fmla="*/ 241 h 482"/>
                <a:gd name="T36" fmla="*/ 542 w 663"/>
                <a:gd name="T37" fmla="*/ 30 h 482"/>
                <a:gd name="T38" fmla="*/ 512 w 663"/>
                <a:gd name="T39" fmla="*/ 16 h 482"/>
                <a:gd name="T40" fmla="*/ 510 w 663"/>
                <a:gd name="T41" fmla="*/ 10 h 482"/>
                <a:gd name="T42" fmla="*/ 507 w 663"/>
                <a:gd name="T43" fmla="*/ 4 h 482"/>
                <a:gd name="T44" fmla="*/ 503 w 663"/>
                <a:gd name="T45" fmla="*/ 1 h 482"/>
                <a:gd name="T46" fmla="*/ 497 w 663"/>
                <a:gd name="T47" fmla="*/ 0 h 482"/>
                <a:gd name="T48" fmla="*/ 12 w 663"/>
                <a:gd name="T49" fmla="*/ 1 h 482"/>
                <a:gd name="T50" fmla="*/ 7 w 663"/>
                <a:gd name="T51" fmla="*/ 3 h 482"/>
                <a:gd name="T52" fmla="*/ 2 w 663"/>
                <a:gd name="T53" fmla="*/ 7 h 482"/>
                <a:gd name="T54" fmla="*/ 0 w 663"/>
                <a:gd name="T55" fmla="*/ 12 h 482"/>
                <a:gd name="T56" fmla="*/ 0 w 663"/>
                <a:gd name="T57" fmla="*/ 392 h 482"/>
                <a:gd name="T58" fmla="*/ 2 w 663"/>
                <a:gd name="T59" fmla="*/ 410 h 482"/>
                <a:gd name="T60" fmla="*/ 7 w 663"/>
                <a:gd name="T61" fmla="*/ 427 h 482"/>
                <a:gd name="T62" fmla="*/ 15 w 663"/>
                <a:gd name="T63" fmla="*/ 442 h 482"/>
                <a:gd name="T64" fmla="*/ 26 w 663"/>
                <a:gd name="T65" fmla="*/ 456 h 482"/>
                <a:gd name="T66" fmla="*/ 39 w 663"/>
                <a:gd name="T67" fmla="*/ 467 h 482"/>
                <a:gd name="T68" fmla="*/ 55 w 663"/>
                <a:gd name="T69" fmla="*/ 475 h 482"/>
                <a:gd name="T70" fmla="*/ 72 w 663"/>
                <a:gd name="T71" fmla="*/ 480 h 482"/>
                <a:gd name="T72" fmla="*/ 90 w 663"/>
                <a:gd name="T73" fmla="*/ 482 h 482"/>
                <a:gd name="T74" fmla="*/ 431 w 663"/>
                <a:gd name="T75" fmla="*/ 482 h 482"/>
                <a:gd name="T76" fmla="*/ 449 w 663"/>
                <a:gd name="T77" fmla="*/ 477 h 482"/>
                <a:gd name="T78" fmla="*/ 465 w 663"/>
                <a:gd name="T79" fmla="*/ 472 h 482"/>
                <a:gd name="T80" fmla="*/ 480 w 663"/>
                <a:gd name="T81" fmla="*/ 462 h 482"/>
                <a:gd name="T82" fmla="*/ 491 w 663"/>
                <a:gd name="T83" fmla="*/ 449 h 482"/>
                <a:gd name="T84" fmla="*/ 501 w 663"/>
                <a:gd name="T85" fmla="*/ 436 h 482"/>
                <a:gd name="T86" fmla="*/ 508 w 663"/>
                <a:gd name="T87" fmla="*/ 419 h 482"/>
                <a:gd name="T88" fmla="*/ 512 w 663"/>
                <a:gd name="T89" fmla="*/ 401 h 482"/>
                <a:gd name="T90" fmla="*/ 512 w 663"/>
                <a:gd name="T91" fmla="*/ 271 h 482"/>
                <a:gd name="T92" fmla="*/ 554 w 663"/>
                <a:gd name="T93" fmla="*/ 271 h 482"/>
                <a:gd name="T94" fmla="*/ 579 w 663"/>
                <a:gd name="T95" fmla="*/ 266 h 482"/>
                <a:gd name="T96" fmla="*/ 601 w 663"/>
                <a:gd name="T97" fmla="*/ 257 h 482"/>
                <a:gd name="T98" fmla="*/ 620 w 663"/>
                <a:gd name="T99" fmla="*/ 245 h 482"/>
                <a:gd name="T100" fmla="*/ 636 w 663"/>
                <a:gd name="T101" fmla="*/ 229 h 482"/>
                <a:gd name="T102" fmla="*/ 648 w 663"/>
                <a:gd name="T103" fmla="*/ 210 h 482"/>
                <a:gd name="T104" fmla="*/ 657 w 663"/>
                <a:gd name="T105" fmla="*/ 187 h 482"/>
                <a:gd name="T106" fmla="*/ 662 w 663"/>
                <a:gd name="T107" fmla="*/ 164 h 482"/>
                <a:gd name="T108" fmla="*/ 662 w 663"/>
                <a:gd name="T109" fmla="*/ 138 h 482"/>
                <a:gd name="T110" fmla="*/ 657 w 663"/>
                <a:gd name="T111" fmla="*/ 114 h 482"/>
                <a:gd name="T112" fmla="*/ 648 w 663"/>
                <a:gd name="T113" fmla="*/ 92 h 482"/>
                <a:gd name="T114" fmla="*/ 636 w 663"/>
                <a:gd name="T115" fmla="*/ 73 h 482"/>
                <a:gd name="T116" fmla="*/ 620 w 663"/>
                <a:gd name="T117" fmla="*/ 56 h 482"/>
                <a:gd name="T118" fmla="*/ 601 w 663"/>
                <a:gd name="T119" fmla="*/ 44 h 482"/>
                <a:gd name="T120" fmla="*/ 579 w 663"/>
                <a:gd name="T121" fmla="*/ 36 h 482"/>
                <a:gd name="T122" fmla="*/ 554 w 663"/>
                <a:gd name="T123" fmla="*/ 3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" h="482">
                  <a:moveTo>
                    <a:pt x="542" y="241"/>
                  </a:moveTo>
                  <a:lnTo>
                    <a:pt x="512" y="241"/>
                  </a:lnTo>
                  <a:lnTo>
                    <a:pt x="512" y="61"/>
                  </a:lnTo>
                  <a:lnTo>
                    <a:pt x="542" y="61"/>
                  </a:lnTo>
                  <a:lnTo>
                    <a:pt x="552" y="61"/>
                  </a:lnTo>
                  <a:lnTo>
                    <a:pt x="561" y="62"/>
                  </a:lnTo>
                  <a:lnTo>
                    <a:pt x="570" y="64"/>
                  </a:lnTo>
                  <a:lnTo>
                    <a:pt x="578" y="68"/>
                  </a:lnTo>
                  <a:lnTo>
                    <a:pt x="586" y="71"/>
                  </a:lnTo>
                  <a:lnTo>
                    <a:pt x="594" y="75"/>
                  </a:lnTo>
                  <a:lnTo>
                    <a:pt x="601" y="80"/>
                  </a:lnTo>
                  <a:lnTo>
                    <a:pt x="608" y="86"/>
                  </a:lnTo>
                  <a:lnTo>
                    <a:pt x="613" y="92"/>
                  </a:lnTo>
                  <a:lnTo>
                    <a:pt x="618" y="99"/>
                  </a:lnTo>
                  <a:lnTo>
                    <a:pt x="622" y="106"/>
                  </a:lnTo>
                  <a:lnTo>
                    <a:pt x="626" y="114"/>
                  </a:lnTo>
                  <a:lnTo>
                    <a:pt x="629" y="123"/>
                  </a:lnTo>
                  <a:lnTo>
                    <a:pt x="630" y="132"/>
                  </a:lnTo>
                  <a:lnTo>
                    <a:pt x="632" y="141"/>
                  </a:lnTo>
                  <a:lnTo>
                    <a:pt x="632" y="151"/>
                  </a:lnTo>
                  <a:lnTo>
                    <a:pt x="632" y="160"/>
                  </a:lnTo>
                  <a:lnTo>
                    <a:pt x="630" y="170"/>
                  </a:lnTo>
                  <a:lnTo>
                    <a:pt x="629" y="179"/>
                  </a:lnTo>
                  <a:lnTo>
                    <a:pt x="626" y="187"/>
                  </a:lnTo>
                  <a:lnTo>
                    <a:pt x="622" y="195"/>
                  </a:lnTo>
                  <a:lnTo>
                    <a:pt x="618" y="203"/>
                  </a:lnTo>
                  <a:lnTo>
                    <a:pt x="613" y="210"/>
                  </a:lnTo>
                  <a:lnTo>
                    <a:pt x="608" y="215"/>
                  </a:lnTo>
                  <a:lnTo>
                    <a:pt x="601" y="221"/>
                  </a:lnTo>
                  <a:lnTo>
                    <a:pt x="594" y="227"/>
                  </a:lnTo>
                  <a:lnTo>
                    <a:pt x="586" y="231"/>
                  </a:lnTo>
                  <a:lnTo>
                    <a:pt x="578" y="235"/>
                  </a:lnTo>
                  <a:lnTo>
                    <a:pt x="570" y="237"/>
                  </a:lnTo>
                  <a:lnTo>
                    <a:pt x="561" y="239"/>
                  </a:lnTo>
                  <a:lnTo>
                    <a:pt x="552" y="240"/>
                  </a:lnTo>
                  <a:lnTo>
                    <a:pt x="542" y="241"/>
                  </a:lnTo>
                  <a:lnTo>
                    <a:pt x="542" y="241"/>
                  </a:lnTo>
                  <a:close/>
                  <a:moveTo>
                    <a:pt x="542" y="30"/>
                  </a:moveTo>
                  <a:lnTo>
                    <a:pt x="512" y="30"/>
                  </a:lnTo>
                  <a:lnTo>
                    <a:pt x="512" y="16"/>
                  </a:lnTo>
                  <a:lnTo>
                    <a:pt x="512" y="12"/>
                  </a:lnTo>
                  <a:lnTo>
                    <a:pt x="510" y="10"/>
                  </a:lnTo>
                  <a:lnTo>
                    <a:pt x="509" y="7"/>
                  </a:lnTo>
                  <a:lnTo>
                    <a:pt x="507" y="4"/>
                  </a:lnTo>
                  <a:lnTo>
                    <a:pt x="505" y="3"/>
                  </a:lnTo>
                  <a:lnTo>
                    <a:pt x="503" y="1"/>
                  </a:lnTo>
                  <a:lnTo>
                    <a:pt x="500" y="1"/>
                  </a:lnTo>
                  <a:lnTo>
                    <a:pt x="497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392"/>
                  </a:lnTo>
                  <a:lnTo>
                    <a:pt x="0" y="401"/>
                  </a:lnTo>
                  <a:lnTo>
                    <a:pt x="2" y="410"/>
                  </a:lnTo>
                  <a:lnTo>
                    <a:pt x="3" y="419"/>
                  </a:lnTo>
                  <a:lnTo>
                    <a:pt x="7" y="427"/>
                  </a:lnTo>
                  <a:lnTo>
                    <a:pt x="10" y="435"/>
                  </a:lnTo>
                  <a:lnTo>
                    <a:pt x="15" y="442"/>
                  </a:lnTo>
                  <a:lnTo>
                    <a:pt x="20" y="449"/>
                  </a:lnTo>
                  <a:lnTo>
                    <a:pt x="26" y="456"/>
                  </a:lnTo>
                  <a:lnTo>
                    <a:pt x="33" y="462"/>
                  </a:lnTo>
                  <a:lnTo>
                    <a:pt x="39" y="467"/>
                  </a:lnTo>
                  <a:lnTo>
                    <a:pt x="47" y="471"/>
                  </a:lnTo>
                  <a:lnTo>
                    <a:pt x="55" y="475"/>
                  </a:lnTo>
                  <a:lnTo>
                    <a:pt x="63" y="477"/>
                  </a:lnTo>
                  <a:lnTo>
                    <a:pt x="72" y="480"/>
                  </a:lnTo>
                  <a:lnTo>
                    <a:pt x="81" y="482"/>
                  </a:lnTo>
                  <a:lnTo>
                    <a:pt x="90" y="482"/>
                  </a:lnTo>
                  <a:lnTo>
                    <a:pt x="421" y="482"/>
                  </a:lnTo>
                  <a:lnTo>
                    <a:pt x="431" y="482"/>
                  </a:lnTo>
                  <a:lnTo>
                    <a:pt x="440" y="480"/>
                  </a:lnTo>
                  <a:lnTo>
                    <a:pt x="449" y="477"/>
                  </a:lnTo>
                  <a:lnTo>
                    <a:pt x="457" y="475"/>
                  </a:lnTo>
                  <a:lnTo>
                    <a:pt x="465" y="472"/>
                  </a:lnTo>
                  <a:lnTo>
                    <a:pt x="473" y="467"/>
                  </a:lnTo>
                  <a:lnTo>
                    <a:pt x="480" y="462"/>
                  </a:lnTo>
                  <a:lnTo>
                    <a:pt x="486" y="456"/>
                  </a:lnTo>
                  <a:lnTo>
                    <a:pt x="491" y="449"/>
                  </a:lnTo>
                  <a:lnTo>
                    <a:pt x="497" y="442"/>
                  </a:lnTo>
                  <a:lnTo>
                    <a:pt x="501" y="436"/>
                  </a:lnTo>
                  <a:lnTo>
                    <a:pt x="505" y="428"/>
                  </a:lnTo>
                  <a:lnTo>
                    <a:pt x="508" y="419"/>
                  </a:lnTo>
                  <a:lnTo>
                    <a:pt x="510" y="411"/>
                  </a:lnTo>
                  <a:lnTo>
                    <a:pt x="512" y="401"/>
                  </a:lnTo>
                  <a:lnTo>
                    <a:pt x="512" y="392"/>
                  </a:lnTo>
                  <a:lnTo>
                    <a:pt x="512" y="271"/>
                  </a:lnTo>
                  <a:lnTo>
                    <a:pt x="542" y="271"/>
                  </a:lnTo>
                  <a:lnTo>
                    <a:pt x="554" y="271"/>
                  </a:lnTo>
                  <a:lnTo>
                    <a:pt x="567" y="269"/>
                  </a:lnTo>
                  <a:lnTo>
                    <a:pt x="579" y="266"/>
                  </a:lnTo>
                  <a:lnTo>
                    <a:pt x="591" y="262"/>
                  </a:lnTo>
                  <a:lnTo>
                    <a:pt x="601" y="257"/>
                  </a:lnTo>
                  <a:lnTo>
                    <a:pt x="611" y="252"/>
                  </a:lnTo>
                  <a:lnTo>
                    <a:pt x="620" y="245"/>
                  </a:lnTo>
                  <a:lnTo>
                    <a:pt x="628" y="237"/>
                  </a:lnTo>
                  <a:lnTo>
                    <a:pt x="636" y="229"/>
                  </a:lnTo>
                  <a:lnTo>
                    <a:pt x="643" y="220"/>
                  </a:lnTo>
                  <a:lnTo>
                    <a:pt x="648" y="210"/>
                  </a:lnTo>
                  <a:lnTo>
                    <a:pt x="654" y="199"/>
                  </a:lnTo>
                  <a:lnTo>
                    <a:pt x="657" y="187"/>
                  </a:lnTo>
                  <a:lnTo>
                    <a:pt x="661" y="176"/>
                  </a:lnTo>
                  <a:lnTo>
                    <a:pt x="662" y="164"/>
                  </a:lnTo>
                  <a:lnTo>
                    <a:pt x="663" y="151"/>
                  </a:lnTo>
                  <a:lnTo>
                    <a:pt x="662" y="138"/>
                  </a:lnTo>
                  <a:lnTo>
                    <a:pt x="661" y="125"/>
                  </a:lnTo>
                  <a:lnTo>
                    <a:pt x="657" y="114"/>
                  </a:lnTo>
                  <a:lnTo>
                    <a:pt x="654" y="103"/>
                  </a:lnTo>
                  <a:lnTo>
                    <a:pt x="648" y="92"/>
                  </a:lnTo>
                  <a:lnTo>
                    <a:pt x="643" y="82"/>
                  </a:lnTo>
                  <a:lnTo>
                    <a:pt x="636" y="73"/>
                  </a:lnTo>
                  <a:lnTo>
                    <a:pt x="628" y="64"/>
                  </a:lnTo>
                  <a:lnTo>
                    <a:pt x="620" y="56"/>
                  </a:lnTo>
                  <a:lnTo>
                    <a:pt x="611" y="49"/>
                  </a:lnTo>
                  <a:lnTo>
                    <a:pt x="601" y="44"/>
                  </a:lnTo>
                  <a:lnTo>
                    <a:pt x="591" y="39"/>
                  </a:lnTo>
                  <a:lnTo>
                    <a:pt x="579" y="36"/>
                  </a:lnTo>
                  <a:lnTo>
                    <a:pt x="567" y="33"/>
                  </a:lnTo>
                  <a:lnTo>
                    <a:pt x="554" y="31"/>
                  </a:lnTo>
                  <a:lnTo>
                    <a:pt x="54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4609"/>
            <p:cNvSpPr>
              <a:spLocks/>
            </p:cNvSpPr>
            <p:nvPr/>
          </p:nvSpPr>
          <p:spPr bwMode="auto">
            <a:xfrm>
              <a:off x="6469063" y="4703763"/>
              <a:ext cx="36513" cy="41275"/>
            </a:xfrm>
            <a:custGeom>
              <a:avLst/>
              <a:gdLst>
                <a:gd name="T0" fmla="*/ 22 w 116"/>
                <a:gd name="T1" fmla="*/ 2 h 132"/>
                <a:gd name="T2" fmla="*/ 18 w 116"/>
                <a:gd name="T3" fmla="*/ 1 h 132"/>
                <a:gd name="T4" fmla="*/ 14 w 116"/>
                <a:gd name="T5" fmla="*/ 0 h 132"/>
                <a:gd name="T6" fmla="*/ 10 w 116"/>
                <a:gd name="T7" fmla="*/ 1 h 132"/>
                <a:gd name="T8" fmla="*/ 7 w 116"/>
                <a:gd name="T9" fmla="*/ 3 h 132"/>
                <a:gd name="T10" fmla="*/ 3 w 116"/>
                <a:gd name="T11" fmla="*/ 5 h 132"/>
                <a:gd name="T12" fmla="*/ 1 w 116"/>
                <a:gd name="T13" fmla="*/ 9 h 132"/>
                <a:gd name="T14" fmla="*/ 0 w 116"/>
                <a:gd name="T15" fmla="*/ 13 h 132"/>
                <a:gd name="T16" fmla="*/ 0 w 116"/>
                <a:gd name="T17" fmla="*/ 17 h 132"/>
                <a:gd name="T18" fmla="*/ 14 w 116"/>
                <a:gd name="T19" fmla="*/ 132 h 132"/>
                <a:gd name="T20" fmla="*/ 116 w 116"/>
                <a:gd name="T21" fmla="*/ 56 h 132"/>
                <a:gd name="T22" fmla="*/ 22 w 116"/>
                <a:gd name="T23" fmla="*/ 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132">
                  <a:moveTo>
                    <a:pt x="22" y="2"/>
                  </a:moveTo>
                  <a:lnTo>
                    <a:pt x="18" y="1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3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14" y="132"/>
                  </a:lnTo>
                  <a:lnTo>
                    <a:pt x="116" y="56"/>
                  </a:lnTo>
                  <a:lnTo>
                    <a:pt x="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4610"/>
            <p:cNvSpPr>
              <a:spLocks noEditPoints="1"/>
            </p:cNvSpPr>
            <p:nvPr/>
          </p:nvSpPr>
          <p:spPr bwMode="auto">
            <a:xfrm>
              <a:off x="6477000" y="4656138"/>
              <a:ext cx="201613" cy="123825"/>
            </a:xfrm>
            <a:custGeom>
              <a:avLst/>
              <a:gdLst>
                <a:gd name="T0" fmla="*/ 526 w 635"/>
                <a:gd name="T1" fmla="*/ 117 h 391"/>
                <a:gd name="T2" fmla="*/ 548 w 635"/>
                <a:gd name="T3" fmla="*/ 80 h 391"/>
                <a:gd name="T4" fmla="*/ 558 w 635"/>
                <a:gd name="T5" fmla="*/ 48 h 391"/>
                <a:gd name="T6" fmla="*/ 583 w 635"/>
                <a:gd name="T7" fmla="*/ 72 h 391"/>
                <a:gd name="T8" fmla="*/ 600 w 635"/>
                <a:gd name="T9" fmla="*/ 108 h 391"/>
                <a:gd name="T10" fmla="*/ 602 w 635"/>
                <a:gd name="T11" fmla="*/ 164 h 391"/>
                <a:gd name="T12" fmla="*/ 583 w 635"/>
                <a:gd name="T13" fmla="*/ 202 h 391"/>
                <a:gd name="T14" fmla="*/ 559 w 635"/>
                <a:gd name="T15" fmla="*/ 213 h 391"/>
                <a:gd name="T16" fmla="*/ 542 w 635"/>
                <a:gd name="T17" fmla="*/ 213 h 391"/>
                <a:gd name="T18" fmla="*/ 514 w 635"/>
                <a:gd name="T19" fmla="*/ 198 h 391"/>
                <a:gd name="T20" fmla="*/ 500 w 635"/>
                <a:gd name="T21" fmla="*/ 167 h 391"/>
                <a:gd name="T22" fmla="*/ 183 w 635"/>
                <a:gd name="T23" fmla="*/ 391 h 391"/>
                <a:gd name="T24" fmla="*/ 193 w 635"/>
                <a:gd name="T25" fmla="*/ 387 h 391"/>
                <a:gd name="T26" fmla="*/ 202 w 635"/>
                <a:gd name="T27" fmla="*/ 387 h 391"/>
                <a:gd name="T28" fmla="*/ 396 w 635"/>
                <a:gd name="T29" fmla="*/ 390 h 391"/>
                <a:gd name="T30" fmla="*/ 486 w 635"/>
                <a:gd name="T31" fmla="*/ 391 h 391"/>
                <a:gd name="T32" fmla="*/ 499 w 635"/>
                <a:gd name="T33" fmla="*/ 382 h 391"/>
                <a:gd name="T34" fmla="*/ 583 w 635"/>
                <a:gd name="T35" fmla="*/ 237 h 391"/>
                <a:gd name="T36" fmla="*/ 605 w 635"/>
                <a:gd name="T37" fmla="*/ 221 h 391"/>
                <a:gd name="T38" fmla="*/ 622 w 635"/>
                <a:gd name="T39" fmla="*/ 197 h 391"/>
                <a:gd name="T40" fmla="*/ 635 w 635"/>
                <a:gd name="T41" fmla="*/ 146 h 391"/>
                <a:gd name="T42" fmla="*/ 629 w 635"/>
                <a:gd name="T43" fmla="*/ 99 h 391"/>
                <a:gd name="T44" fmla="*/ 608 w 635"/>
                <a:gd name="T45" fmla="*/ 55 h 391"/>
                <a:gd name="T46" fmla="*/ 568 w 635"/>
                <a:gd name="T47" fmla="*/ 19 h 391"/>
                <a:gd name="T48" fmla="*/ 522 w 635"/>
                <a:gd name="T49" fmla="*/ 2 h 391"/>
                <a:gd name="T50" fmla="*/ 508 w 635"/>
                <a:gd name="T51" fmla="*/ 12 h 391"/>
                <a:gd name="T52" fmla="*/ 514 w 635"/>
                <a:gd name="T53" fmla="*/ 31 h 391"/>
                <a:gd name="T54" fmla="*/ 522 w 635"/>
                <a:gd name="T55" fmla="*/ 54 h 391"/>
                <a:gd name="T56" fmla="*/ 516 w 635"/>
                <a:gd name="T57" fmla="*/ 79 h 391"/>
                <a:gd name="T58" fmla="*/ 491 w 635"/>
                <a:gd name="T59" fmla="*/ 112 h 391"/>
                <a:gd name="T60" fmla="*/ 474 w 635"/>
                <a:gd name="T61" fmla="*/ 143 h 391"/>
                <a:gd name="T62" fmla="*/ 470 w 635"/>
                <a:gd name="T63" fmla="*/ 173 h 391"/>
                <a:gd name="T64" fmla="*/ 479 w 635"/>
                <a:gd name="T65" fmla="*/ 202 h 391"/>
                <a:gd name="T66" fmla="*/ 409 w 635"/>
                <a:gd name="T67" fmla="*/ 346 h 391"/>
                <a:gd name="T68" fmla="*/ 328 w 635"/>
                <a:gd name="T69" fmla="*/ 329 h 391"/>
                <a:gd name="T70" fmla="*/ 320 w 635"/>
                <a:gd name="T71" fmla="*/ 321 h 391"/>
                <a:gd name="T72" fmla="*/ 320 w 635"/>
                <a:gd name="T73" fmla="*/ 310 h 391"/>
                <a:gd name="T74" fmla="*/ 328 w 635"/>
                <a:gd name="T75" fmla="*/ 302 h 391"/>
                <a:gd name="T76" fmla="*/ 409 w 635"/>
                <a:gd name="T77" fmla="*/ 240 h 391"/>
                <a:gd name="T78" fmla="*/ 295 w 635"/>
                <a:gd name="T79" fmla="*/ 238 h 391"/>
                <a:gd name="T80" fmla="*/ 288 w 635"/>
                <a:gd name="T81" fmla="*/ 229 h 391"/>
                <a:gd name="T82" fmla="*/ 290 w 635"/>
                <a:gd name="T83" fmla="*/ 217 h 391"/>
                <a:gd name="T84" fmla="*/ 300 w 635"/>
                <a:gd name="T85" fmla="*/ 211 h 391"/>
                <a:gd name="T86" fmla="*/ 333 w 635"/>
                <a:gd name="T87" fmla="*/ 180 h 391"/>
                <a:gd name="T88" fmla="*/ 323 w 635"/>
                <a:gd name="T89" fmla="*/ 176 h 391"/>
                <a:gd name="T90" fmla="*/ 318 w 635"/>
                <a:gd name="T91" fmla="*/ 166 h 391"/>
                <a:gd name="T92" fmla="*/ 323 w 635"/>
                <a:gd name="T93" fmla="*/ 154 h 391"/>
                <a:gd name="T94" fmla="*/ 333 w 635"/>
                <a:gd name="T95" fmla="*/ 150 h 391"/>
                <a:gd name="T96" fmla="*/ 300 w 635"/>
                <a:gd name="T97" fmla="*/ 119 h 391"/>
                <a:gd name="T98" fmla="*/ 290 w 635"/>
                <a:gd name="T99" fmla="*/ 114 h 391"/>
                <a:gd name="T100" fmla="*/ 288 w 635"/>
                <a:gd name="T101" fmla="*/ 102 h 391"/>
                <a:gd name="T102" fmla="*/ 295 w 635"/>
                <a:gd name="T103" fmla="*/ 92 h 391"/>
                <a:gd name="T104" fmla="*/ 409 w 635"/>
                <a:gd name="T105" fmla="*/ 90 h 391"/>
                <a:gd name="T106" fmla="*/ 405 w 635"/>
                <a:gd name="T107" fmla="*/ 6 h 391"/>
                <a:gd name="T108" fmla="*/ 396 w 635"/>
                <a:gd name="T109" fmla="*/ 0 h 391"/>
                <a:gd name="T110" fmla="*/ 207 w 635"/>
                <a:gd name="T111" fmla="*/ 1 h 391"/>
                <a:gd name="T112" fmla="*/ 199 w 635"/>
                <a:gd name="T113" fmla="*/ 9 h 391"/>
                <a:gd name="T114" fmla="*/ 196 w 635"/>
                <a:gd name="T115" fmla="*/ 370 h 391"/>
                <a:gd name="T116" fmla="*/ 50 w 635"/>
                <a:gd name="T117" fmla="*/ 385 h 391"/>
                <a:gd name="T118" fmla="*/ 62 w 635"/>
                <a:gd name="T11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5" h="391">
                  <a:moveTo>
                    <a:pt x="505" y="147"/>
                  </a:moveTo>
                  <a:lnTo>
                    <a:pt x="510" y="136"/>
                  </a:lnTo>
                  <a:lnTo>
                    <a:pt x="521" y="124"/>
                  </a:lnTo>
                  <a:lnTo>
                    <a:pt x="526" y="117"/>
                  </a:lnTo>
                  <a:lnTo>
                    <a:pt x="532" y="108"/>
                  </a:lnTo>
                  <a:lnTo>
                    <a:pt x="539" y="100"/>
                  </a:lnTo>
                  <a:lnTo>
                    <a:pt x="543" y="90"/>
                  </a:lnTo>
                  <a:lnTo>
                    <a:pt x="548" y="80"/>
                  </a:lnTo>
                  <a:lnTo>
                    <a:pt x="550" y="68"/>
                  </a:lnTo>
                  <a:lnTo>
                    <a:pt x="551" y="56"/>
                  </a:lnTo>
                  <a:lnTo>
                    <a:pt x="550" y="44"/>
                  </a:lnTo>
                  <a:lnTo>
                    <a:pt x="558" y="48"/>
                  </a:lnTo>
                  <a:lnTo>
                    <a:pt x="565" y="54"/>
                  </a:lnTo>
                  <a:lnTo>
                    <a:pt x="571" y="59"/>
                  </a:lnTo>
                  <a:lnTo>
                    <a:pt x="577" y="65"/>
                  </a:lnTo>
                  <a:lnTo>
                    <a:pt x="583" y="72"/>
                  </a:lnTo>
                  <a:lnTo>
                    <a:pt x="587" y="79"/>
                  </a:lnTo>
                  <a:lnTo>
                    <a:pt x="591" y="85"/>
                  </a:lnTo>
                  <a:lnTo>
                    <a:pt x="594" y="93"/>
                  </a:lnTo>
                  <a:lnTo>
                    <a:pt x="600" y="108"/>
                  </a:lnTo>
                  <a:lnTo>
                    <a:pt x="603" y="124"/>
                  </a:lnTo>
                  <a:lnTo>
                    <a:pt x="604" y="138"/>
                  </a:lnTo>
                  <a:lnTo>
                    <a:pt x="603" y="154"/>
                  </a:lnTo>
                  <a:lnTo>
                    <a:pt x="602" y="164"/>
                  </a:lnTo>
                  <a:lnTo>
                    <a:pt x="599" y="175"/>
                  </a:lnTo>
                  <a:lnTo>
                    <a:pt x="594" y="185"/>
                  </a:lnTo>
                  <a:lnTo>
                    <a:pt x="590" y="194"/>
                  </a:lnTo>
                  <a:lnTo>
                    <a:pt x="583" y="202"/>
                  </a:lnTo>
                  <a:lnTo>
                    <a:pt x="575" y="208"/>
                  </a:lnTo>
                  <a:lnTo>
                    <a:pt x="569" y="211"/>
                  </a:lnTo>
                  <a:lnTo>
                    <a:pt x="565" y="212"/>
                  </a:lnTo>
                  <a:lnTo>
                    <a:pt x="559" y="213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48" y="213"/>
                  </a:lnTo>
                  <a:lnTo>
                    <a:pt x="542" y="213"/>
                  </a:lnTo>
                  <a:lnTo>
                    <a:pt x="536" y="211"/>
                  </a:lnTo>
                  <a:lnTo>
                    <a:pt x="530" y="208"/>
                  </a:lnTo>
                  <a:lnTo>
                    <a:pt x="521" y="204"/>
                  </a:lnTo>
                  <a:lnTo>
                    <a:pt x="514" y="198"/>
                  </a:lnTo>
                  <a:lnTo>
                    <a:pt x="507" y="191"/>
                  </a:lnTo>
                  <a:lnTo>
                    <a:pt x="504" y="184"/>
                  </a:lnTo>
                  <a:lnTo>
                    <a:pt x="500" y="175"/>
                  </a:lnTo>
                  <a:lnTo>
                    <a:pt x="500" y="167"/>
                  </a:lnTo>
                  <a:lnTo>
                    <a:pt x="501" y="156"/>
                  </a:lnTo>
                  <a:lnTo>
                    <a:pt x="505" y="147"/>
                  </a:lnTo>
                  <a:close/>
                  <a:moveTo>
                    <a:pt x="62" y="391"/>
                  </a:moveTo>
                  <a:lnTo>
                    <a:pt x="183" y="391"/>
                  </a:lnTo>
                  <a:lnTo>
                    <a:pt x="183" y="391"/>
                  </a:lnTo>
                  <a:lnTo>
                    <a:pt x="183" y="391"/>
                  </a:lnTo>
                  <a:lnTo>
                    <a:pt x="189" y="390"/>
                  </a:lnTo>
                  <a:lnTo>
                    <a:pt x="193" y="387"/>
                  </a:lnTo>
                  <a:lnTo>
                    <a:pt x="196" y="382"/>
                  </a:lnTo>
                  <a:lnTo>
                    <a:pt x="198" y="377"/>
                  </a:lnTo>
                  <a:lnTo>
                    <a:pt x="199" y="382"/>
                  </a:lnTo>
                  <a:lnTo>
                    <a:pt x="202" y="387"/>
                  </a:lnTo>
                  <a:lnTo>
                    <a:pt x="207" y="390"/>
                  </a:lnTo>
                  <a:lnTo>
                    <a:pt x="212" y="391"/>
                  </a:lnTo>
                  <a:lnTo>
                    <a:pt x="393" y="391"/>
                  </a:lnTo>
                  <a:lnTo>
                    <a:pt x="396" y="390"/>
                  </a:lnTo>
                  <a:lnTo>
                    <a:pt x="400" y="389"/>
                  </a:lnTo>
                  <a:lnTo>
                    <a:pt x="403" y="390"/>
                  </a:lnTo>
                  <a:lnTo>
                    <a:pt x="407" y="391"/>
                  </a:lnTo>
                  <a:lnTo>
                    <a:pt x="486" y="391"/>
                  </a:lnTo>
                  <a:lnTo>
                    <a:pt x="489" y="390"/>
                  </a:lnTo>
                  <a:lnTo>
                    <a:pt x="494" y="389"/>
                  </a:lnTo>
                  <a:lnTo>
                    <a:pt x="496" y="386"/>
                  </a:lnTo>
                  <a:lnTo>
                    <a:pt x="499" y="382"/>
                  </a:lnTo>
                  <a:lnTo>
                    <a:pt x="564" y="242"/>
                  </a:lnTo>
                  <a:lnTo>
                    <a:pt x="570" y="241"/>
                  </a:lnTo>
                  <a:lnTo>
                    <a:pt x="577" y="240"/>
                  </a:lnTo>
                  <a:lnTo>
                    <a:pt x="583" y="237"/>
                  </a:lnTo>
                  <a:lnTo>
                    <a:pt x="590" y="234"/>
                  </a:lnTo>
                  <a:lnTo>
                    <a:pt x="595" y="230"/>
                  </a:lnTo>
                  <a:lnTo>
                    <a:pt x="601" y="227"/>
                  </a:lnTo>
                  <a:lnTo>
                    <a:pt x="605" y="221"/>
                  </a:lnTo>
                  <a:lnTo>
                    <a:pt x="610" y="216"/>
                  </a:lnTo>
                  <a:lnTo>
                    <a:pt x="614" y="211"/>
                  </a:lnTo>
                  <a:lnTo>
                    <a:pt x="619" y="204"/>
                  </a:lnTo>
                  <a:lnTo>
                    <a:pt x="622" y="197"/>
                  </a:lnTo>
                  <a:lnTo>
                    <a:pt x="626" y="190"/>
                  </a:lnTo>
                  <a:lnTo>
                    <a:pt x="630" y="175"/>
                  </a:lnTo>
                  <a:lnTo>
                    <a:pt x="634" y="158"/>
                  </a:lnTo>
                  <a:lnTo>
                    <a:pt x="635" y="146"/>
                  </a:lnTo>
                  <a:lnTo>
                    <a:pt x="635" y="134"/>
                  </a:lnTo>
                  <a:lnTo>
                    <a:pt x="634" y="123"/>
                  </a:lnTo>
                  <a:lnTo>
                    <a:pt x="631" y="110"/>
                  </a:lnTo>
                  <a:lnTo>
                    <a:pt x="629" y="99"/>
                  </a:lnTo>
                  <a:lnTo>
                    <a:pt x="625" y="88"/>
                  </a:lnTo>
                  <a:lnTo>
                    <a:pt x="620" y="76"/>
                  </a:lnTo>
                  <a:lnTo>
                    <a:pt x="614" y="65"/>
                  </a:lnTo>
                  <a:lnTo>
                    <a:pt x="608" y="55"/>
                  </a:lnTo>
                  <a:lnTo>
                    <a:pt x="599" y="45"/>
                  </a:lnTo>
                  <a:lnTo>
                    <a:pt x="590" y="36"/>
                  </a:lnTo>
                  <a:lnTo>
                    <a:pt x="579" y="27"/>
                  </a:lnTo>
                  <a:lnTo>
                    <a:pt x="568" y="19"/>
                  </a:lnTo>
                  <a:lnTo>
                    <a:pt x="556" y="12"/>
                  </a:lnTo>
                  <a:lnTo>
                    <a:pt x="542" y="6"/>
                  </a:lnTo>
                  <a:lnTo>
                    <a:pt x="526" y="3"/>
                  </a:lnTo>
                  <a:lnTo>
                    <a:pt x="522" y="2"/>
                  </a:lnTo>
                  <a:lnTo>
                    <a:pt x="517" y="3"/>
                  </a:lnTo>
                  <a:lnTo>
                    <a:pt x="514" y="5"/>
                  </a:lnTo>
                  <a:lnTo>
                    <a:pt x="510" y="9"/>
                  </a:lnTo>
                  <a:lnTo>
                    <a:pt x="508" y="12"/>
                  </a:lnTo>
                  <a:lnTo>
                    <a:pt x="508" y="16"/>
                  </a:lnTo>
                  <a:lnTo>
                    <a:pt x="508" y="21"/>
                  </a:lnTo>
                  <a:lnTo>
                    <a:pt x="510" y="25"/>
                  </a:lnTo>
                  <a:lnTo>
                    <a:pt x="514" y="31"/>
                  </a:lnTo>
                  <a:lnTo>
                    <a:pt x="517" y="38"/>
                  </a:lnTo>
                  <a:lnTo>
                    <a:pt x="520" y="44"/>
                  </a:lnTo>
                  <a:lnTo>
                    <a:pt x="521" y="49"/>
                  </a:lnTo>
                  <a:lnTo>
                    <a:pt x="522" y="54"/>
                  </a:lnTo>
                  <a:lnTo>
                    <a:pt x="522" y="59"/>
                  </a:lnTo>
                  <a:lnTo>
                    <a:pt x="521" y="64"/>
                  </a:lnTo>
                  <a:lnTo>
                    <a:pt x="520" y="70"/>
                  </a:lnTo>
                  <a:lnTo>
                    <a:pt x="516" y="79"/>
                  </a:lnTo>
                  <a:lnTo>
                    <a:pt x="510" y="88"/>
                  </a:lnTo>
                  <a:lnTo>
                    <a:pt x="504" y="97"/>
                  </a:lnTo>
                  <a:lnTo>
                    <a:pt x="497" y="106"/>
                  </a:lnTo>
                  <a:lnTo>
                    <a:pt x="491" y="112"/>
                  </a:lnTo>
                  <a:lnTo>
                    <a:pt x="486" y="120"/>
                  </a:lnTo>
                  <a:lnTo>
                    <a:pt x="481" y="128"/>
                  </a:lnTo>
                  <a:lnTo>
                    <a:pt x="477" y="136"/>
                  </a:lnTo>
                  <a:lnTo>
                    <a:pt x="474" y="143"/>
                  </a:lnTo>
                  <a:lnTo>
                    <a:pt x="472" y="151"/>
                  </a:lnTo>
                  <a:lnTo>
                    <a:pt x="471" y="159"/>
                  </a:lnTo>
                  <a:lnTo>
                    <a:pt x="470" y="167"/>
                  </a:lnTo>
                  <a:lnTo>
                    <a:pt x="470" y="173"/>
                  </a:lnTo>
                  <a:lnTo>
                    <a:pt x="471" y="181"/>
                  </a:lnTo>
                  <a:lnTo>
                    <a:pt x="473" y="188"/>
                  </a:lnTo>
                  <a:lnTo>
                    <a:pt x="475" y="195"/>
                  </a:lnTo>
                  <a:lnTo>
                    <a:pt x="479" y="202"/>
                  </a:lnTo>
                  <a:lnTo>
                    <a:pt x="482" y="207"/>
                  </a:lnTo>
                  <a:lnTo>
                    <a:pt x="487" y="213"/>
                  </a:lnTo>
                  <a:lnTo>
                    <a:pt x="491" y="219"/>
                  </a:lnTo>
                  <a:lnTo>
                    <a:pt x="409" y="346"/>
                  </a:lnTo>
                  <a:lnTo>
                    <a:pt x="409" y="330"/>
                  </a:lnTo>
                  <a:lnTo>
                    <a:pt x="333" y="330"/>
                  </a:lnTo>
                  <a:lnTo>
                    <a:pt x="330" y="330"/>
                  </a:lnTo>
                  <a:lnTo>
                    <a:pt x="328" y="329"/>
                  </a:lnTo>
                  <a:lnTo>
                    <a:pt x="324" y="328"/>
                  </a:lnTo>
                  <a:lnTo>
                    <a:pt x="323" y="326"/>
                  </a:lnTo>
                  <a:lnTo>
                    <a:pt x="321" y="324"/>
                  </a:lnTo>
                  <a:lnTo>
                    <a:pt x="320" y="321"/>
                  </a:lnTo>
                  <a:lnTo>
                    <a:pt x="318" y="319"/>
                  </a:lnTo>
                  <a:lnTo>
                    <a:pt x="318" y="316"/>
                  </a:lnTo>
                  <a:lnTo>
                    <a:pt x="318" y="312"/>
                  </a:lnTo>
                  <a:lnTo>
                    <a:pt x="320" y="310"/>
                  </a:lnTo>
                  <a:lnTo>
                    <a:pt x="321" y="308"/>
                  </a:lnTo>
                  <a:lnTo>
                    <a:pt x="323" y="306"/>
                  </a:lnTo>
                  <a:lnTo>
                    <a:pt x="324" y="303"/>
                  </a:lnTo>
                  <a:lnTo>
                    <a:pt x="328" y="302"/>
                  </a:lnTo>
                  <a:lnTo>
                    <a:pt x="330" y="301"/>
                  </a:lnTo>
                  <a:lnTo>
                    <a:pt x="333" y="301"/>
                  </a:lnTo>
                  <a:lnTo>
                    <a:pt x="409" y="301"/>
                  </a:lnTo>
                  <a:lnTo>
                    <a:pt x="409" y="240"/>
                  </a:lnTo>
                  <a:lnTo>
                    <a:pt x="303" y="240"/>
                  </a:lnTo>
                  <a:lnTo>
                    <a:pt x="300" y="240"/>
                  </a:lnTo>
                  <a:lnTo>
                    <a:pt x="297" y="239"/>
                  </a:lnTo>
                  <a:lnTo>
                    <a:pt x="295" y="238"/>
                  </a:lnTo>
                  <a:lnTo>
                    <a:pt x="292" y="236"/>
                  </a:lnTo>
                  <a:lnTo>
                    <a:pt x="290" y="233"/>
                  </a:lnTo>
                  <a:lnTo>
                    <a:pt x="289" y="231"/>
                  </a:lnTo>
                  <a:lnTo>
                    <a:pt x="288" y="229"/>
                  </a:lnTo>
                  <a:lnTo>
                    <a:pt x="288" y="225"/>
                  </a:lnTo>
                  <a:lnTo>
                    <a:pt x="288" y="222"/>
                  </a:lnTo>
                  <a:lnTo>
                    <a:pt x="289" y="220"/>
                  </a:lnTo>
                  <a:lnTo>
                    <a:pt x="290" y="217"/>
                  </a:lnTo>
                  <a:lnTo>
                    <a:pt x="292" y="215"/>
                  </a:lnTo>
                  <a:lnTo>
                    <a:pt x="295" y="213"/>
                  </a:lnTo>
                  <a:lnTo>
                    <a:pt x="297" y="212"/>
                  </a:lnTo>
                  <a:lnTo>
                    <a:pt x="300" y="211"/>
                  </a:lnTo>
                  <a:lnTo>
                    <a:pt x="303" y="211"/>
                  </a:lnTo>
                  <a:lnTo>
                    <a:pt x="409" y="211"/>
                  </a:lnTo>
                  <a:lnTo>
                    <a:pt x="409" y="180"/>
                  </a:lnTo>
                  <a:lnTo>
                    <a:pt x="333" y="180"/>
                  </a:lnTo>
                  <a:lnTo>
                    <a:pt x="330" y="180"/>
                  </a:lnTo>
                  <a:lnTo>
                    <a:pt x="328" y="179"/>
                  </a:lnTo>
                  <a:lnTo>
                    <a:pt x="324" y="178"/>
                  </a:lnTo>
                  <a:lnTo>
                    <a:pt x="323" y="176"/>
                  </a:lnTo>
                  <a:lnTo>
                    <a:pt x="321" y="173"/>
                  </a:lnTo>
                  <a:lnTo>
                    <a:pt x="320" y="171"/>
                  </a:lnTo>
                  <a:lnTo>
                    <a:pt x="318" y="168"/>
                  </a:lnTo>
                  <a:lnTo>
                    <a:pt x="318" y="166"/>
                  </a:lnTo>
                  <a:lnTo>
                    <a:pt x="318" y="162"/>
                  </a:lnTo>
                  <a:lnTo>
                    <a:pt x="320" y="160"/>
                  </a:lnTo>
                  <a:lnTo>
                    <a:pt x="321" y="156"/>
                  </a:lnTo>
                  <a:lnTo>
                    <a:pt x="323" y="154"/>
                  </a:lnTo>
                  <a:lnTo>
                    <a:pt x="324" y="153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3" y="150"/>
                  </a:lnTo>
                  <a:lnTo>
                    <a:pt x="409" y="150"/>
                  </a:lnTo>
                  <a:lnTo>
                    <a:pt x="409" y="120"/>
                  </a:lnTo>
                  <a:lnTo>
                    <a:pt x="303" y="120"/>
                  </a:lnTo>
                  <a:lnTo>
                    <a:pt x="300" y="119"/>
                  </a:lnTo>
                  <a:lnTo>
                    <a:pt x="297" y="119"/>
                  </a:lnTo>
                  <a:lnTo>
                    <a:pt x="295" y="117"/>
                  </a:lnTo>
                  <a:lnTo>
                    <a:pt x="292" y="116"/>
                  </a:lnTo>
                  <a:lnTo>
                    <a:pt x="290" y="114"/>
                  </a:lnTo>
                  <a:lnTo>
                    <a:pt x="289" y="111"/>
                  </a:lnTo>
                  <a:lnTo>
                    <a:pt x="288" y="108"/>
                  </a:lnTo>
                  <a:lnTo>
                    <a:pt x="288" y="105"/>
                  </a:lnTo>
                  <a:lnTo>
                    <a:pt x="288" y="102"/>
                  </a:lnTo>
                  <a:lnTo>
                    <a:pt x="289" y="99"/>
                  </a:lnTo>
                  <a:lnTo>
                    <a:pt x="290" y="97"/>
                  </a:lnTo>
                  <a:lnTo>
                    <a:pt x="292" y="94"/>
                  </a:lnTo>
                  <a:lnTo>
                    <a:pt x="295" y="92"/>
                  </a:lnTo>
                  <a:lnTo>
                    <a:pt x="297" y="91"/>
                  </a:lnTo>
                  <a:lnTo>
                    <a:pt x="300" y="90"/>
                  </a:lnTo>
                  <a:lnTo>
                    <a:pt x="303" y="90"/>
                  </a:lnTo>
                  <a:lnTo>
                    <a:pt x="409" y="90"/>
                  </a:lnTo>
                  <a:lnTo>
                    <a:pt x="409" y="14"/>
                  </a:lnTo>
                  <a:lnTo>
                    <a:pt x="408" y="12"/>
                  </a:lnTo>
                  <a:lnTo>
                    <a:pt x="408" y="9"/>
                  </a:lnTo>
                  <a:lnTo>
                    <a:pt x="405" y="6"/>
                  </a:lnTo>
                  <a:lnTo>
                    <a:pt x="404" y="4"/>
                  </a:lnTo>
                  <a:lnTo>
                    <a:pt x="402" y="2"/>
                  </a:lnTo>
                  <a:lnTo>
                    <a:pt x="399" y="1"/>
                  </a:lnTo>
                  <a:lnTo>
                    <a:pt x="396" y="0"/>
                  </a:lnTo>
                  <a:lnTo>
                    <a:pt x="393" y="0"/>
                  </a:lnTo>
                  <a:lnTo>
                    <a:pt x="212" y="0"/>
                  </a:lnTo>
                  <a:lnTo>
                    <a:pt x="210" y="0"/>
                  </a:lnTo>
                  <a:lnTo>
                    <a:pt x="207" y="1"/>
                  </a:lnTo>
                  <a:lnTo>
                    <a:pt x="204" y="2"/>
                  </a:lnTo>
                  <a:lnTo>
                    <a:pt x="202" y="4"/>
                  </a:lnTo>
                  <a:lnTo>
                    <a:pt x="200" y="6"/>
                  </a:lnTo>
                  <a:lnTo>
                    <a:pt x="199" y="9"/>
                  </a:lnTo>
                  <a:lnTo>
                    <a:pt x="198" y="12"/>
                  </a:lnTo>
                  <a:lnTo>
                    <a:pt x="198" y="14"/>
                  </a:lnTo>
                  <a:lnTo>
                    <a:pt x="198" y="374"/>
                  </a:lnTo>
                  <a:lnTo>
                    <a:pt x="196" y="370"/>
                  </a:lnTo>
                  <a:lnTo>
                    <a:pt x="194" y="365"/>
                  </a:lnTo>
                  <a:lnTo>
                    <a:pt x="111" y="227"/>
                  </a:lnTo>
                  <a:lnTo>
                    <a:pt x="0" y="310"/>
                  </a:lnTo>
                  <a:lnTo>
                    <a:pt x="50" y="385"/>
                  </a:lnTo>
                  <a:lnTo>
                    <a:pt x="52" y="387"/>
                  </a:lnTo>
                  <a:lnTo>
                    <a:pt x="55" y="389"/>
                  </a:lnTo>
                  <a:lnTo>
                    <a:pt x="59" y="390"/>
                  </a:lnTo>
                  <a:lnTo>
                    <a:pt x="62" y="391"/>
                  </a:lnTo>
                  <a:lnTo>
                    <a:pt x="62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1" name="Group 220"/>
          <p:cNvGrpSpPr/>
          <p:nvPr/>
        </p:nvGrpSpPr>
        <p:grpSpPr>
          <a:xfrm>
            <a:off x="2175398" y="3418596"/>
            <a:ext cx="287337" cy="285750"/>
            <a:chOff x="7018338" y="4656138"/>
            <a:chExt cx="287337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22" name="Freeform 4604"/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4605"/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4606"/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Rectangle 4607"/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2176191" y="3946881"/>
            <a:ext cx="285750" cy="287337"/>
            <a:chOff x="2025650" y="2516188"/>
            <a:chExt cx="285750" cy="287337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27" name="Freeform 1153"/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154"/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155"/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156"/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157"/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158"/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159"/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160"/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5" name="Group 234"/>
          <p:cNvGrpSpPr/>
          <p:nvPr/>
        </p:nvGrpSpPr>
        <p:grpSpPr>
          <a:xfrm>
            <a:off x="2219054" y="4477258"/>
            <a:ext cx="200025" cy="287338"/>
            <a:chOff x="10502900" y="815975"/>
            <a:chExt cx="200025" cy="287338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36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2175397" y="5026601"/>
            <a:ext cx="287338" cy="277813"/>
            <a:chOff x="4892675" y="2501900"/>
            <a:chExt cx="287338" cy="277813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41" name="Freeform 300"/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301"/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4" name="TextBox 243"/>
          <p:cNvSpPr txBox="1"/>
          <p:nvPr/>
        </p:nvSpPr>
        <p:spPr>
          <a:xfrm>
            <a:off x="814388" y="5817282"/>
            <a:ext cx="105632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 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</p:spTree>
    <p:extLst>
      <p:ext uri="{BB962C8B-B14F-4D97-AF65-F5344CB8AC3E}">
        <p14:creationId xmlns:p14="http://schemas.microsoft.com/office/powerpoint/2010/main" val="116754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7" r="16617"/>
          <a:stretch>
            <a:fillRect/>
          </a:stretch>
        </p:blipFill>
        <p:spPr/>
      </p:pic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TARGET MARKET</a:t>
            </a: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4037014" y="1781176"/>
            <a:ext cx="4429125" cy="4430713"/>
            <a:chOff x="2236788" y="1781175"/>
            <a:chExt cx="4429125" cy="4430713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88" name="Freeform 5"/>
            <p:cNvSpPr>
              <a:spLocks/>
            </p:cNvSpPr>
            <p:nvPr/>
          </p:nvSpPr>
          <p:spPr bwMode="auto">
            <a:xfrm>
              <a:off x="2555875" y="2081213"/>
              <a:ext cx="458788" cy="458788"/>
            </a:xfrm>
            <a:custGeom>
              <a:avLst/>
              <a:gdLst>
                <a:gd name="T0" fmla="*/ 250 w 289"/>
                <a:gd name="T1" fmla="*/ 289 h 289"/>
                <a:gd name="T2" fmla="*/ 0 w 289"/>
                <a:gd name="T3" fmla="*/ 38 h 289"/>
                <a:gd name="T4" fmla="*/ 38 w 289"/>
                <a:gd name="T5" fmla="*/ 0 h 289"/>
                <a:gd name="T6" fmla="*/ 289 w 289"/>
                <a:gd name="T7" fmla="*/ 250 h 289"/>
                <a:gd name="T8" fmla="*/ 250 w 289"/>
                <a:gd name="T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9">
                  <a:moveTo>
                    <a:pt x="250" y="289"/>
                  </a:moveTo>
                  <a:lnTo>
                    <a:pt x="0" y="38"/>
                  </a:lnTo>
                  <a:lnTo>
                    <a:pt x="38" y="0"/>
                  </a:lnTo>
                  <a:lnTo>
                    <a:pt x="289" y="250"/>
                  </a:lnTo>
                  <a:lnTo>
                    <a:pt x="250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6"/>
            <p:cNvSpPr>
              <a:spLocks/>
            </p:cNvSpPr>
            <p:nvPr/>
          </p:nvSpPr>
          <p:spPr bwMode="auto">
            <a:xfrm>
              <a:off x="2482850" y="2008188"/>
              <a:ext cx="215900" cy="215900"/>
            </a:xfrm>
            <a:custGeom>
              <a:avLst/>
              <a:gdLst>
                <a:gd name="T0" fmla="*/ 78 w 95"/>
                <a:gd name="T1" fmla="*/ 17 h 95"/>
                <a:gd name="T2" fmla="*/ 17 w 95"/>
                <a:gd name="T3" fmla="*/ 17 h 95"/>
                <a:gd name="T4" fmla="*/ 17 w 95"/>
                <a:gd name="T5" fmla="*/ 78 h 95"/>
                <a:gd name="T6" fmla="*/ 78 w 95"/>
                <a:gd name="T7" fmla="*/ 78 h 95"/>
                <a:gd name="T8" fmla="*/ 78 w 95"/>
                <a:gd name="T9" fmla="*/ 1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78" y="17"/>
                  </a:move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34" y="95"/>
                    <a:pt x="61" y="95"/>
                    <a:pt x="78" y="78"/>
                  </a:cubicBezTo>
                  <a:cubicBezTo>
                    <a:pt x="95" y="61"/>
                    <a:pt x="95" y="34"/>
                    <a:pt x="7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2236788" y="1781175"/>
              <a:ext cx="4429125" cy="4430713"/>
            </a:xfrm>
            <a:custGeom>
              <a:avLst/>
              <a:gdLst>
                <a:gd name="T0" fmla="*/ 975 w 1950"/>
                <a:gd name="T1" fmla="*/ 1951 h 1951"/>
                <a:gd name="T2" fmla="*/ 285 w 1950"/>
                <a:gd name="T3" fmla="*/ 1665 h 1951"/>
                <a:gd name="T4" fmla="*/ 0 w 1950"/>
                <a:gd name="T5" fmla="*/ 976 h 1951"/>
                <a:gd name="T6" fmla="*/ 285 w 1950"/>
                <a:gd name="T7" fmla="*/ 286 h 1951"/>
                <a:gd name="T8" fmla="*/ 975 w 1950"/>
                <a:gd name="T9" fmla="*/ 0 h 1951"/>
                <a:gd name="T10" fmla="*/ 1019 w 1950"/>
                <a:gd name="T11" fmla="*/ 44 h 1951"/>
                <a:gd name="T12" fmla="*/ 975 w 1950"/>
                <a:gd name="T13" fmla="*/ 89 h 1951"/>
                <a:gd name="T14" fmla="*/ 348 w 1950"/>
                <a:gd name="T15" fmla="*/ 348 h 1951"/>
                <a:gd name="T16" fmla="*/ 88 w 1950"/>
                <a:gd name="T17" fmla="*/ 976 h 1951"/>
                <a:gd name="T18" fmla="*/ 348 w 1950"/>
                <a:gd name="T19" fmla="*/ 1603 h 1951"/>
                <a:gd name="T20" fmla="*/ 975 w 1950"/>
                <a:gd name="T21" fmla="*/ 1862 h 1951"/>
                <a:gd name="T22" fmla="*/ 1602 w 1950"/>
                <a:gd name="T23" fmla="*/ 1603 h 1951"/>
                <a:gd name="T24" fmla="*/ 1862 w 1950"/>
                <a:gd name="T25" fmla="*/ 976 h 1951"/>
                <a:gd name="T26" fmla="*/ 1906 w 1950"/>
                <a:gd name="T27" fmla="*/ 931 h 1951"/>
                <a:gd name="T28" fmla="*/ 1950 w 1950"/>
                <a:gd name="T29" fmla="*/ 976 h 1951"/>
                <a:gd name="T30" fmla="*/ 1665 w 1950"/>
                <a:gd name="T31" fmla="*/ 1665 h 1951"/>
                <a:gd name="T32" fmla="*/ 975 w 1950"/>
                <a:gd name="T33" fmla="*/ 1951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50" h="1951">
                  <a:moveTo>
                    <a:pt x="975" y="1951"/>
                  </a:moveTo>
                  <a:cubicBezTo>
                    <a:pt x="715" y="1951"/>
                    <a:pt x="470" y="1849"/>
                    <a:pt x="285" y="1665"/>
                  </a:cubicBezTo>
                  <a:cubicBezTo>
                    <a:pt x="101" y="1481"/>
                    <a:pt x="0" y="1236"/>
                    <a:pt x="0" y="976"/>
                  </a:cubicBezTo>
                  <a:cubicBezTo>
                    <a:pt x="0" y="715"/>
                    <a:pt x="101" y="470"/>
                    <a:pt x="285" y="286"/>
                  </a:cubicBezTo>
                  <a:cubicBezTo>
                    <a:pt x="470" y="102"/>
                    <a:pt x="715" y="0"/>
                    <a:pt x="975" y="0"/>
                  </a:cubicBezTo>
                  <a:cubicBezTo>
                    <a:pt x="1000" y="0"/>
                    <a:pt x="1019" y="20"/>
                    <a:pt x="1019" y="44"/>
                  </a:cubicBezTo>
                  <a:cubicBezTo>
                    <a:pt x="1019" y="69"/>
                    <a:pt x="1000" y="89"/>
                    <a:pt x="975" y="89"/>
                  </a:cubicBezTo>
                  <a:cubicBezTo>
                    <a:pt x="738" y="89"/>
                    <a:pt x="516" y="181"/>
                    <a:pt x="348" y="348"/>
                  </a:cubicBezTo>
                  <a:cubicBezTo>
                    <a:pt x="181" y="516"/>
                    <a:pt x="88" y="739"/>
                    <a:pt x="88" y="976"/>
                  </a:cubicBezTo>
                  <a:cubicBezTo>
                    <a:pt x="88" y="1212"/>
                    <a:pt x="181" y="1435"/>
                    <a:pt x="348" y="1603"/>
                  </a:cubicBezTo>
                  <a:cubicBezTo>
                    <a:pt x="516" y="1770"/>
                    <a:pt x="738" y="1862"/>
                    <a:pt x="975" y="1862"/>
                  </a:cubicBezTo>
                  <a:cubicBezTo>
                    <a:pt x="1212" y="1862"/>
                    <a:pt x="1435" y="1770"/>
                    <a:pt x="1602" y="1603"/>
                  </a:cubicBezTo>
                  <a:cubicBezTo>
                    <a:pt x="1770" y="1435"/>
                    <a:pt x="1862" y="1212"/>
                    <a:pt x="1862" y="976"/>
                  </a:cubicBezTo>
                  <a:cubicBezTo>
                    <a:pt x="1862" y="951"/>
                    <a:pt x="1882" y="931"/>
                    <a:pt x="1906" y="931"/>
                  </a:cubicBezTo>
                  <a:cubicBezTo>
                    <a:pt x="1931" y="931"/>
                    <a:pt x="1950" y="951"/>
                    <a:pt x="1950" y="976"/>
                  </a:cubicBezTo>
                  <a:cubicBezTo>
                    <a:pt x="1950" y="1236"/>
                    <a:pt x="1849" y="1481"/>
                    <a:pt x="1665" y="1665"/>
                  </a:cubicBezTo>
                  <a:cubicBezTo>
                    <a:pt x="1481" y="1849"/>
                    <a:pt x="1236" y="1951"/>
                    <a:pt x="975" y="19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4859339" y="2082800"/>
            <a:ext cx="3306763" cy="3295650"/>
            <a:chOff x="3059113" y="2082800"/>
            <a:chExt cx="3306763" cy="3295650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2" name="Freeform 7"/>
            <p:cNvSpPr>
              <a:spLocks/>
            </p:cNvSpPr>
            <p:nvPr/>
          </p:nvSpPr>
          <p:spPr bwMode="auto">
            <a:xfrm>
              <a:off x="5705475" y="2265363"/>
              <a:ext cx="458788" cy="458788"/>
            </a:xfrm>
            <a:custGeom>
              <a:avLst/>
              <a:gdLst>
                <a:gd name="T0" fmla="*/ 38 w 289"/>
                <a:gd name="T1" fmla="*/ 289 h 289"/>
                <a:gd name="T2" fmla="*/ 0 w 289"/>
                <a:gd name="T3" fmla="*/ 250 h 289"/>
                <a:gd name="T4" fmla="*/ 249 w 289"/>
                <a:gd name="T5" fmla="*/ 0 h 289"/>
                <a:gd name="T6" fmla="*/ 289 w 289"/>
                <a:gd name="T7" fmla="*/ 40 h 289"/>
                <a:gd name="T8" fmla="*/ 38 w 289"/>
                <a:gd name="T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9">
                  <a:moveTo>
                    <a:pt x="38" y="289"/>
                  </a:moveTo>
                  <a:lnTo>
                    <a:pt x="0" y="250"/>
                  </a:lnTo>
                  <a:lnTo>
                    <a:pt x="249" y="0"/>
                  </a:lnTo>
                  <a:lnTo>
                    <a:pt x="289" y="40"/>
                  </a:lnTo>
                  <a:lnTo>
                    <a:pt x="38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"/>
            <p:cNvSpPr>
              <a:spLocks/>
            </p:cNvSpPr>
            <p:nvPr/>
          </p:nvSpPr>
          <p:spPr bwMode="auto">
            <a:xfrm>
              <a:off x="6021388" y="2192338"/>
              <a:ext cx="215900" cy="215900"/>
            </a:xfrm>
            <a:custGeom>
              <a:avLst/>
              <a:gdLst>
                <a:gd name="T0" fmla="*/ 78 w 95"/>
                <a:gd name="T1" fmla="*/ 78 h 95"/>
                <a:gd name="T2" fmla="*/ 78 w 95"/>
                <a:gd name="T3" fmla="*/ 17 h 95"/>
                <a:gd name="T4" fmla="*/ 17 w 95"/>
                <a:gd name="T5" fmla="*/ 17 h 95"/>
                <a:gd name="T6" fmla="*/ 17 w 95"/>
                <a:gd name="T7" fmla="*/ 78 h 95"/>
                <a:gd name="T8" fmla="*/ 78 w 95"/>
                <a:gd name="T9" fmla="*/ 7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78" y="78"/>
                  </a:moveTo>
                  <a:cubicBezTo>
                    <a:pt x="95" y="61"/>
                    <a:pt x="95" y="34"/>
                    <a:pt x="78" y="17"/>
                  </a:cubicBez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34" y="95"/>
                    <a:pt x="61" y="95"/>
                    <a:pt x="78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10"/>
            <p:cNvSpPr>
              <a:spLocks/>
            </p:cNvSpPr>
            <p:nvPr/>
          </p:nvSpPr>
          <p:spPr bwMode="auto">
            <a:xfrm>
              <a:off x="3059113" y="2082800"/>
              <a:ext cx="3306763" cy="3295650"/>
            </a:xfrm>
            <a:custGeom>
              <a:avLst/>
              <a:gdLst>
                <a:gd name="T0" fmla="*/ 1178 w 1456"/>
                <a:gd name="T1" fmla="*/ 1451 h 1451"/>
                <a:gd name="T2" fmla="*/ 1146 w 1456"/>
                <a:gd name="T3" fmla="*/ 1438 h 1451"/>
                <a:gd name="T4" fmla="*/ 1146 w 1456"/>
                <a:gd name="T5" fmla="*/ 1376 h 1451"/>
                <a:gd name="T6" fmla="*/ 1367 w 1456"/>
                <a:gd name="T7" fmla="*/ 843 h 1451"/>
                <a:gd name="T8" fmla="*/ 1146 w 1456"/>
                <a:gd name="T9" fmla="*/ 309 h 1451"/>
                <a:gd name="T10" fmla="*/ 613 w 1456"/>
                <a:gd name="T11" fmla="*/ 88 h 1451"/>
                <a:gd name="T12" fmla="*/ 80 w 1456"/>
                <a:gd name="T13" fmla="*/ 309 h 1451"/>
                <a:gd name="T14" fmla="*/ 17 w 1456"/>
                <a:gd name="T15" fmla="*/ 309 h 1451"/>
                <a:gd name="T16" fmla="*/ 17 w 1456"/>
                <a:gd name="T17" fmla="*/ 247 h 1451"/>
                <a:gd name="T18" fmla="*/ 613 w 1456"/>
                <a:gd name="T19" fmla="*/ 0 h 1451"/>
                <a:gd name="T20" fmla="*/ 1209 w 1456"/>
                <a:gd name="T21" fmla="*/ 247 h 1451"/>
                <a:gd name="T22" fmla="*/ 1456 w 1456"/>
                <a:gd name="T23" fmla="*/ 843 h 1451"/>
                <a:gd name="T24" fmla="*/ 1209 w 1456"/>
                <a:gd name="T25" fmla="*/ 1438 h 1451"/>
                <a:gd name="T26" fmla="*/ 1178 w 1456"/>
                <a:gd name="T27" fmla="*/ 1451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56" h="1451">
                  <a:moveTo>
                    <a:pt x="1178" y="1451"/>
                  </a:moveTo>
                  <a:cubicBezTo>
                    <a:pt x="1166" y="1451"/>
                    <a:pt x="1155" y="1447"/>
                    <a:pt x="1146" y="1438"/>
                  </a:cubicBezTo>
                  <a:cubicBezTo>
                    <a:pt x="1129" y="1421"/>
                    <a:pt x="1129" y="1393"/>
                    <a:pt x="1146" y="1376"/>
                  </a:cubicBezTo>
                  <a:cubicBezTo>
                    <a:pt x="1289" y="1233"/>
                    <a:pt x="1367" y="1044"/>
                    <a:pt x="1367" y="843"/>
                  </a:cubicBezTo>
                  <a:cubicBezTo>
                    <a:pt x="1367" y="641"/>
                    <a:pt x="1289" y="452"/>
                    <a:pt x="1146" y="309"/>
                  </a:cubicBezTo>
                  <a:cubicBezTo>
                    <a:pt x="1004" y="167"/>
                    <a:pt x="814" y="88"/>
                    <a:pt x="613" y="88"/>
                  </a:cubicBezTo>
                  <a:cubicBezTo>
                    <a:pt x="412" y="88"/>
                    <a:pt x="222" y="167"/>
                    <a:pt x="80" y="309"/>
                  </a:cubicBezTo>
                  <a:cubicBezTo>
                    <a:pt x="63" y="327"/>
                    <a:pt x="35" y="327"/>
                    <a:pt x="17" y="309"/>
                  </a:cubicBezTo>
                  <a:cubicBezTo>
                    <a:pt x="0" y="292"/>
                    <a:pt x="0" y="264"/>
                    <a:pt x="17" y="247"/>
                  </a:cubicBezTo>
                  <a:cubicBezTo>
                    <a:pt x="176" y="88"/>
                    <a:pt x="388" y="0"/>
                    <a:pt x="613" y="0"/>
                  </a:cubicBezTo>
                  <a:cubicBezTo>
                    <a:pt x="838" y="0"/>
                    <a:pt x="1050" y="88"/>
                    <a:pt x="1209" y="247"/>
                  </a:cubicBezTo>
                  <a:cubicBezTo>
                    <a:pt x="1368" y="406"/>
                    <a:pt x="1456" y="617"/>
                    <a:pt x="1456" y="843"/>
                  </a:cubicBezTo>
                  <a:cubicBezTo>
                    <a:pt x="1456" y="1068"/>
                    <a:pt x="1368" y="1279"/>
                    <a:pt x="1209" y="1438"/>
                  </a:cubicBezTo>
                  <a:cubicBezTo>
                    <a:pt x="1200" y="1447"/>
                    <a:pt x="1189" y="1451"/>
                    <a:pt x="1178" y="14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049856" y="1416758"/>
            <a:ext cx="2522200" cy="1541444"/>
            <a:chOff x="6370976" y="1807845"/>
            <a:chExt cx="2522200" cy="1541444"/>
          </a:xfrm>
        </p:grpSpPr>
        <p:sp>
          <p:nvSpPr>
            <p:cNvPr id="135" name="TextBox 134"/>
            <p:cNvSpPr txBox="1"/>
            <p:nvPr/>
          </p:nvSpPr>
          <p:spPr>
            <a:xfrm>
              <a:off x="6370976" y="2333626"/>
              <a:ext cx="2522199" cy="101566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100" dirty="0">
                  <a:solidFill>
                    <a:prstClr val="black"/>
                  </a:solidFill>
                </a:rPr>
                <a:t>Lorem Ipsum is simply dummy text of the printing and typesetting industry. Lorem Ipsum has been the industry's standard dummy text ever since the 1500s, when an unknown printer took a galley of type and scrambled it to make a type specimen book. </a:t>
              </a:r>
              <a:endParaRPr lang="en-US" sz="1100" dirty="0">
                <a:solidFill>
                  <a:prstClr val="black"/>
                </a:solidFill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7293632" y="1807845"/>
              <a:ext cx="159954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r"/>
              <a:r>
                <a:rPr lang="en-US" sz="3200" dirty="0">
                  <a:solidFill>
                    <a:srgbClr val="FEA34F"/>
                  </a:solidFill>
                </a:rPr>
                <a:t>75%</a:t>
              </a: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8629318" y="1680362"/>
            <a:ext cx="2499059" cy="1541444"/>
            <a:chOff x="7293631" y="1807845"/>
            <a:chExt cx="2499059" cy="1541444"/>
          </a:xfrm>
        </p:grpSpPr>
        <p:sp>
          <p:nvSpPr>
            <p:cNvPr id="138" name="TextBox 137"/>
            <p:cNvSpPr txBox="1"/>
            <p:nvPr/>
          </p:nvSpPr>
          <p:spPr>
            <a:xfrm>
              <a:off x="7293631" y="2333626"/>
              <a:ext cx="2499059" cy="101566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>
                  <a:solidFill>
                    <a:prstClr val="black"/>
                  </a:solidFill>
                </a:rPr>
                <a:t>Lorem Ipsum is simply dummy text of the printing and typesetting industry. Lorem Ipsum has been the industry's standard dummy text ever since the 1500s, when an unknown printer took a galley of type and scrambled it to make a type specimen book. </a:t>
              </a:r>
              <a:endParaRPr lang="en-US" sz="1100" dirty="0">
                <a:solidFill>
                  <a:prstClr val="black"/>
                </a:solidFill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7293632" y="1807845"/>
              <a:ext cx="159954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dirty="0">
                  <a:solidFill>
                    <a:srgbClr val="46B688"/>
                  </a:solidFill>
                </a:rPr>
                <a:t>50%</a:t>
              </a: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929560" y="4704911"/>
            <a:ext cx="2557787" cy="1541444"/>
            <a:chOff x="6335389" y="1807845"/>
            <a:chExt cx="2557787" cy="1541444"/>
          </a:xfrm>
        </p:grpSpPr>
        <p:sp>
          <p:nvSpPr>
            <p:cNvPr id="148" name="TextBox 147"/>
            <p:cNvSpPr txBox="1"/>
            <p:nvPr/>
          </p:nvSpPr>
          <p:spPr>
            <a:xfrm>
              <a:off x="6335389" y="2333626"/>
              <a:ext cx="2557787" cy="101566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100" dirty="0">
                  <a:solidFill>
                    <a:prstClr val="black"/>
                  </a:solidFill>
                </a:rPr>
                <a:t>Lorem Ipsum is simply dummy text of the printing and typesetting industry. Lorem Ipsum has been the industry's standard dummy text ever since the 1500s, when an unknown printer took a galley of type and scrambled it to make a type specimen book. </a:t>
              </a:r>
              <a:endParaRPr lang="en-US" sz="1100" dirty="0">
                <a:solidFill>
                  <a:prstClr val="black"/>
                </a:solidFill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7293632" y="1807845"/>
              <a:ext cx="159954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3200" dirty="0">
                  <a:solidFill>
                    <a:srgbClr val="016AA3"/>
                  </a:solidFill>
                </a:rPr>
                <a:t>63%</a:t>
              </a:r>
            </a:p>
          </p:txBody>
        </p:sp>
      </p:grpSp>
      <p:sp>
        <p:nvSpPr>
          <p:cNvPr id="2" name="Oval 1"/>
          <p:cNvSpPr/>
          <p:nvPr/>
        </p:nvSpPr>
        <p:spPr>
          <a:xfrm>
            <a:off x="5184777" y="2928597"/>
            <a:ext cx="2130424" cy="2130424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5" name="Group 94"/>
          <p:cNvGrpSpPr/>
          <p:nvPr/>
        </p:nvGrpSpPr>
        <p:grpSpPr>
          <a:xfrm>
            <a:off x="4913312" y="2707032"/>
            <a:ext cx="3736976" cy="3735388"/>
            <a:chOff x="3178175" y="2724150"/>
            <a:chExt cx="3736976" cy="3735388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6" name="Freeform 12"/>
            <p:cNvSpPr>
              <a:spLocks/>
            </p:cNvSpPr>
            <p:nvPr/>
          </p:nvSpPr>
          <p:spPr bwMode="auto">
            <a:xfrm>
              <a:off x="5230813" y="4776788"/>
              <a:ext cx="792163" cy="792163"/>
            </a:xfrm>
            <a:custGeom>
              <a:avLst/>
              <a:gdLst>
                <a:gd name="T0" fmla="*/ 382 w 499"/>
                <a:gd name="T1" fmla="*/ 499 h 499"/>
                <a:gd name="T2" fmla="*/ 499 w 499"/>
                <a:gd name="T3" fmla="*/ 380 h 499"/>
                <a:gd name="T4" fmla="*/ 117 w 499"/>
                <a:gd name="T5" fmla="*/ 0 h 499"/>
                <a:gd name="T6" fmla="*/ 0 w 499"/>
                <a:gd name="T7" fmla="*/ 117 h 499"/>
                <a:gd name="T8" fmla="*/ 382 w 499"/>
                <a:gd name="T9" fmla="*/ 499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9" h="499">
                  <a:moveTo>
                    <a:pt x="382" y="499"/>
                  </a:moveTo>
                  <a:lnTo>
                    <a:pt x="499" y="380"/>
                  </a:lnTo>
                  <a:lnTo>
                    <a:pt x="117" y="0"/>
                  </a:lnTo>
                  <a:lnTo>
                    <a:pt x="0" y="117"/>
                  </a:lnTo>
                  <a:lnTo>
                    <a:pt x="382" y="499"/>
                  </a:lnTo>
                  <a:close/>
                </a:path>
              </a:pathLst>
            </a:custGeom>
            <a:solidFill>
              <a:srgbClr val="979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13"/>
            <p:cNvSpPr>
              <a:spLocks/>
            </p:cNvSpPr>
            <p:nvPr/>
          </p:nvSpPr>
          <p:spPr bwMode="auto">
            <a:xfrm>
              <a:off x="5230813" y="4776788"/>
              <a:ext cx="792163" cy="792163"/>
            </a:xfrm>
            <a:custGeom>
              <a:avLst/>
              <a:gdLst>
                <a:gd name="T0" fmla="*/ 382 w 499"/>
                <a:gd name="T1" fmla="*/ 499 h 499"/>
                <a:gd name="T2" fmla="*/ 499 w 499"/>
                <a:gd name="T3" fmla="*/ 380 h 499"/>
                <a:gd name="T4" fmla="*/ 117 w 499"/>
                <a:gd name="T5" fmla="*/ 0 h 499"/>
                <a:gd name="T6" fmla="*/ 0 w 499"/>
                <a:gd name="T7" fmla="*/ 117 h 499"/>
                <a:gd name="T8" fmla="*/ 382 w 499"/>
                <a:gd name="T9" fmla="*/ 499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9" h="499">
                  <a:moveTo>
                    <a:pt x="382" y="499"/>
                  </a:moveTo>
                  <a:lnTo>
                    <a:pt x="499" y="380"/>
                  </a:lnTo>
                  <a:lnTo>
                    <a:pt x="117" y="0"/>
                  </a:lnTo>
                  <a:lnTo>
                    <a:pt x="0" y="117"/>
                  </a:lnTo>
                  <a:lnTo>
                    <a:pt x="382" y="4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14"/>
            <p:cNvSpPr>
              <a:spLocks/>
            </p:cNvSpPr>
            <p:nvPr/>
          </p:nvSpPr>
          <p:spPr bwMode="auto">
            <a:xfrm>
              <a:off x="5241925" y="4926013"/>
              <a:ext cx="631825" cy="631825"/>
            </a:xfrm>
            <a:custGeom>
              <a:avLst/>
              <a:gdLst>
                <a:gd name="T0" fmla="*/ 382 w 398"/>
                <a:gd name="T1" fmla="*/ 398 h 398"/>
                <a:gd name="T2" fmla="*/ 398 w 398"/>
                <a:gd name="T3" fmla="*/ 381 h 398"/>
                <a:gd name="T4" fmla="*/ 16 w 398"/>
                <a:gd name="T5" fmla="*/ 0 h 398"/>
                <a:gd name="T6" fmla="*/ 0 w 398"/>
                <a:gd name="T7" fmla="*/ 16 h 398"/>
                <a:gd name="T8" fmla="*/ 382 w 398"/>
                <a:gd name="T9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398">
                  <a:moveTo>
                    <a:pt x="382" y="398"/>
                  </a:moveTo>
                  <a:lnTo>
                    <a:pt x="398" y="381"/>
                  </a:lnTo>
                  <a:lnTo>
                    <a:pt x="16" y="0"/>
                  </a:lnTo>
                  <a:lnTo>
                    <a:pt x="0" y="16"/>
                  </a:lnTo>
                  <a:lnTo>
                    <a:pt x="382" y="39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15"/>
            <p:cNvSpPr>
              <a:spLocks/>
            </p:cNvSpPr>
            <p:nvPr/>
          </p:nvSpPr>
          <p:spPr bwMode="auto">
            <a:xfrm>
              <a:off x="5241925" y="4926013"/>
              <a:ext cx="631825" cy="631825"/>
            </a:xfrm>
            <a:custGeom>
              <a:avLst/>
              <a:gdLst>
                <a:gd name="T0" fmla="*/ 382 w 398"/>
                <a:gd name="T1" fmla="*/ 398 h 398"/>
                <a:gd name="T2" fmla="*/ 398 w 398"/>
                <a:gd name="T3" fmla="*/ 381 h 398"/>
                <a:gd name="T4" fmla="*/ 16 w 398"/>
                <a:gd name="T5" fmla="*/ 0 h 398"/>
                <a:gd name="T6" fmla="*/ 0 w 398"/>
                <a:gd name="T7" fmla="*/ 16 h 398"/>
                <a:gd name="T8" fmla="*/ 382 w 398"/>
                <a:gd name="T9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398">
                  <a:moveTo>
                    <a:pt x="382" y="398"/>
                  </a:moveTo>
                  <a:lnTo>
                    <a:pt x="398" y="381"/>
                  </a:lnTo>
                  <a:lnTo>
                    <a:pt x="16" y="0"/>
                  </a:lnTo>
                  <a:lnTo>
                    <a:pt x="0" y="16"/>
                  </a:lnTo>
                  <a:lnTo>
                    <a:pt x="382" y="39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16"/>
            <p:cNvSpPr>
              <a:spLocks/>
            </p:cNvSpPr>
            <p:nvPr/>
          </p:nvSpPr>
          <p:spPr bwMode="auto">
            <a:xfrm>
              <a:off x="5278438" y="4905375"/>
              <a:ext cx="615950" cy="615950"/>
            </a:xfrm>
            <a:custGeom>
              <a:avLst/>
              <a:gdLst>
                <a:gd name="T0" fmla="*/ 380 w 388"/>
                <a:gd name="T1" fmla="*/ 388 h 388"/>
                <a:gd name="T2" fmla="*/ 388 w 388"/>
                <a:gd name="T3" fmla="*/ 382 h 388"/>
                <a:gd name="T4" fmla="*/ 6 w 388"/>
                <a:gd name="T5" fmla="*/ 0 h 388"/>
                <a:gd name="T6" fmla="*/ 0 w 388"/>
                <a:gd name="T7" fmla="*/ 6 h 388"/>
                <a:gd name="T8" fmla="*/ 380 w 388"/>
                <a:gd name="T9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388">
                  <a:moveTo>
                    <a:pt x="380" y="388"/>
                  </a:moveTo>
                  <a:lnTo>
                    <a:pt x="388" y="382"/>
                  </a:lnTo>
                  <a:lnTo>
                    <a:pt x="6" y="0"/>
                  </a:lnTo>
                  <a:lnTo>
                    <a:pt x="0" y="6"/>
                  </a:lnTo>
                  <a:lnTo>
                    <a:pt x="380" y="38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17"/>
            <p:cNvSpPr>
              <a:spLocks/>
            </p:cNvSpPr>
            <p:nvPr/>
          </p:nvSpPr>
          <p:spPr bwMode="auto">
            <a:xfrm>
              <a:off x="5278438" y="4905375"/>
              <a:ext cx="615950" cy="615950"/>
            </a:xfrm>
            <a:custGeom>
              <a:avLst/>
              <a:gdLst>
                <a:gd name="T0" fmla="*/ 380 w 388"/>
                <a:gd name="T1" fmla="*/ 388 h 388"/>
                <a:gd name="T2" fmla="*/ 388 w 388"/>
                <a:gd name="T3" fmla="*/ 382 h 388"/>
                <a:gd name="T4" fmla="*/ 6 w 388"/>
                <a:gd name="T5" fmla="*/ 0 h 388"/>
                <a:gd name="T6" fmla="*/ 0 w 388"/>
                <a:gd name="T7" fmla="*/ 6 h 388"/>
                <a:gd name="T8" fmla="*/ 380 w 388"/>
                <a:gd name="T9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388">
                  <a:moveTo>
                    <a:pt x="380" y="388"/>
                  </a:moveTo>
                  <a:lnTo>
                    <a:pt x="388" y="382"/>
                  </a:lnTo>
                  <a:lnTo>
                    <a:pt x="6" y="0"/>
                  </a:lnTo>
                  <a:lnTo>
                    <a:pt x="0" y="6"/>
                  </a:lnTo>
                  <a:lnTo>
                    <a:pt x="38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18"/>
            <p:cNvSpPr>
              <a:spLocks/>
            </p:cNvSpPr>
            <p:nvPr/>
          </p:nvSpPr>
          <p:spPr bwMode="auto">
            <a:xfrm>
              <a:off x="5675313" y="5219700"/>
              <a:ext cx="1239838" cy="1239838"/>
            </a:xfrm>
            <a:custGeom>
              <a:avLst/>
              <a:gdLst>
                <a:gd name="T0" fmla="*/ 405 w 546"/>
                <a:gd name="T1" fmla="*/ 535 h 546"/>
                <a:gd name="T2" fmla="*/ 446 w 546"/>
                <a:gd name="T3" fmla="*/ 535 h 546"/>
                <a:gd name="T4" fmla="*/ 534 w 546"/>
                <a:gd name="T5" fmla="*/ 447 h 546"/>
                <a:gd name="T6" fmla="*/ 534 w 546"/>
                <a:gd name="T7" fmla="*/ 405 h 546"/>
                <a:gd name="T8" fmla="*/ 140 w 546"/>
                <a:gd name="T9" fmla="*/ 11 h 546"/>
                <a:gd name="T10" fmla="*/ 99 w 546"/>
                <a:gd name="T11" fmla="*/ 11 h 546"/>
                <a:gd name="T12" fmla="*/ 11 w 546"/>
                <a:gd name="T13" fmla="*/ 100 h 546"/>
                <a:gd name="T14" fmla="*/ 11 w 546"/>
                <a:gd name="T15" fmla="*/ 141 h 546"/>
                <a:gd name="T16" fmla="*/ 405 w 546"/>
                <a:gd name="T17" fmla="*/ 535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6" h="546">
                  <a:moveTo>
                    <a:pt x="405" y="535"/>
                  </a:moveTo>
                  <a:cubicBezTo>
                    <a:pt x="416" y="546"/>
                    <a:pt x="435" y="546"/>
                    <a:pt x="446" y="535"/>
                  </a:cubicBezTo>
                  <a:cubicBezTo>
                    <a:pt x="534" y="447"/>
                    <a:pt x="534" y="447"/>
                    <a:pt x="534" y="447"/>
                  </a:cubicBezTo>
                  <a:cubicBezTo>
                    <a:pt x="546" y="435"/>
                    <a:pt x="546" y="417"/>
                    <a:pt x="534" y="405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29" y="0"/>
                    <a:pt x="111" y="0"/>
                    <a:pt x="99" y="11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0" y="111"/>
                    <a:pt x="0" y="130"/>
                    <a:pt x="11" y="141"/>
                  </a:cubicBezTo>
                  <a:cubicBezTo>
                    <a:pt x="405" y="535"/>
                    <a:pt x="405" y="535"/>
                    <a:pt x="405" y="535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19"/>
            <p:cNvSpPr>
              <a:spLocks/>
            </p:cNvSpPr>
            <p:nvPr/>
          </p:nvSpPr>
          <p:spPr bwMode="auto">
            <a:xfrm>
              <a:off x="6724650" y="6369050"/>
              <a:ext cx="30163" cy="28575"/>
            </a:xfrm>
            <a:custGeom>
              <a:avLst/>
              <a:gdLst>
                <a:gd name="T0" fmla="*/ 19 w 19"/>
                <a:gd name="T1" fmla="*/ 0 h 18"/>
                <a:gd name="T2" fmla="*/ 0 w 19"/>
                <a:gd name="T3" fmla="*/ 18 h 18"/>
                <a:gd name="T4" fmla="*/ 0 w 19"/>
                <a:gd name="T5" fmla="*/ 18 h 18"/>
                <a:gd name="T6" fmla="*/ 19 w 19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8">
                  <a:moveTo>
                    <a:pt x="19" y="0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C2B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20"/>
            <p:cNvSpPr>
              <a:spLocks/>
            </p:cNvSpPr>
            <p:nvPr/>
          </p:nvSpPr>
          <p:spPr bwMode="auto">
            <a:xfrm>
              <a:off x="6724650" y="6369050"/>
              <a:ext cx="30163" cy="28575"/>
            </a:xfrm>
            <a:custGeom>
              <a:avLst/>
              <a:gdLst>
                <a:gd name="T0" fmla="*/ 19 w 19"/>
                <a:gd name="T1" fmla="*/ 0 h 18"/>
                <a:gd name="T2" fmla="*/ 0 w 19"/>
                <a:gd name="T3" fmla="*/ 18 h 18"/>
                <a:gd name="T4" fmla="*/ 0 w 19"/>
                <a:gd name="T5" fmla="*/ 18 h 18"/>
                <a:gd name="T6" fmla="*/ 19 w 19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8">
                  <a:moveTo>
                    <a:pt x="19" y="0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5" name="Freeform 21"/>
            <p:cNvSpPr>
              <a:spLocks/>
            </p:cNvSpPr>
            <p:nvPr/>
          </p:nvSpPr>
          <p:spPr bwMode="auto">
            <a:xfrm>
              <a:off x="5737225" y="5380038"/>
              <a:ext cx="1017588" cy="1017588"/>
            </a:xfrm>
            <a:custGeom>
              <a:avLst/>
              <a:gdLst>
                <a:gd name="T0" fmla="*/ 18 w 641"/>
                <a:gd name="T1" fmla="*/ 0 h 641"/>
                <a:gd name="T2" fmla="*/ 1 w 641"/>
                <a:gd name="T3" fmla="*/ 18 h 641"/>
                <a:gd name="T4" fmla="*/ 0 w 641"/>
                <a:gd name="T5" fmla="*/ 19 h 641"/>
                <a:gd name="T6" fmla="*/ 622 w 641"/>
                <a:gd name="T7" fmla="*/ 641 h 641"/>
                <a:gd name="T8" fmla="*/ 641 w 641"/>
                <a:gd name="T9" fmla="*/ 623 h 641"/>
                <a:gd name="T10" fmla="*/ 18 w 641"/>
                <a:gd name="T11" fmla="*/ 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1" h="641">
                  <a:moveTo>
                    <a:pt x="18" y="0"/>
                  </a:moveTo>
                  <a:lnTo>
                    <a:pt x="1" y="18"/>
                  </a:lnTo>
                  <a:lnTo>
                    <a:pt x="0" y="19"/>
                  </a:lnTo>
                  <a:lnTo>
                    <a:pt x="622" y="641"/>
                  </a:lnTo>
                  <a:lnTo>
                    <a:pt x="641" y="623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6" name="Freeform 22"/>
            <p:cNvSpPr>
              <a:spLocks/>
            </p:cNvSpPr>
            <p:nvPr/>
          </p:nvSpPr>
          <p:spPr bwMode="auto">
            <a:xfrm>
              <a:off x="5737225" y="5380038"/>
              <a:ext cx="1017588" cy="1017588"/>
            </a:xfrm>
            <a:custGeom>
              <a:avLst/>
              <a:gdLst>
                <a:gd name="T0" fmla="*/ 18 w 641"/>
                <a:gd name="T1" fmla="*/ 0 h 641"/>
                <a:gd name="T2" fmla="*/ 1 w 641"/>
                <a:gd name="T3" fmla="*/ 18 h 641"/>
                <a:gd name="T4" fmla="*/ 0 w 641"/>
                <a:gd name="T5" fmla="*/ 19 h 641"/>
                <a:gd name="T6" fmla="*/ 622 w 641"/>
                <a:gd name="T7" fmla="*/ 641 h 641"/>
                <a:gd name="T8" fmla="*/ 641 w 641"/>
                <a:gd name="T9" fmla="*/ 623 h 641"/>
                <a:gd name="T10" fmla="*/ 18 w 641"/>
                <a:gd name="T11" fmla="*/ 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1" h="641">
                  <a:moveTo>
                    <a:pt x="18" y="0"/>
                  </a:moveTo>
                  <a:lnTo>
                    <a:pt x="1" y="18"/>
                  </a:lnTo>
                  <a:lnTo>
                    <a:pt x="0" y="19"/>
                  </a:lnTo>
                  <a:lnTo>
                    <a:pt x="622" y="641"/>
                  </a:lnTo>
                  <a:lnTo>
                    <a:pt x="641" y="623"/>
                  </a:lnTo>
                  <a:lnTo>
                    <a:pt x="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3"/>
            <p:cNvSpPr>
              <a:spLocks/>
            </p:cNvSpPr>
            <p:nvPr/>
          </p:nvSpPr>
          <p:spPr bwMode="auto">
            <a:xfrm>
              <a:off x="5680075" y="5440363"/>
              <a:ext cx="26988" cy="52388"/>
            </a:xfrm>
            <a:custGeom>
              <a:avLst/>
              <a:gdLst>
                <a:gd name="T0" fmla="*/ 12 w 12"/>
                <a:gd name="T1" fmla="*/ 0 h 23"/>
                <a:gd name="T2" fmla="*/ 9 w 12"/>
                <a:gd name="T3" fmla="*/ 3 h 23"/>
                <a:gd name="T4" fmla="*/ 0 w 12"/>
                <a:gd name="T5" fmla="*/ 23 h 23"/>
                <a:gd name="T6" fmla="*/ 9 w 12"/>
                <a:gd name="T7" fmla="*/ 3 h 23"/>
                <a:gd name="T8" fmla="*/ 12 w 12"/>
                <a:gd name="T9" fmla="*/ 0 h 23"/>
                <a:gd name="T10" fmla="*/ 12 w 12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3">
                  <a:moveTo>
                    <a:pt x="12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3" y="8"/>
                    <a:pt x="0" y="16"/>
                    <a:pt x="0" y="23"/>
                  </a:cubicBezTo>
                  <a:cubicBezTo>
                    <a:pt x="0" y="16"/>
                    <a:pt x="3" y="8"/>
                    <a:pt x="9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C2B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8" name="Freeform 24"/>
            <p:cNvSpPr>
              <a:spLocks/>
            </p:cNvSpPr>
            <p:nvPr/>
          </p:nvSpPr>
          <p:spPr bwMode="auto">
            <a:xfrm>
              <a:off x="5707063" y="5427663"/>
              <a:ext cx="11113" cy="12700"/>
            </a:xfrm>
            <a:custGeom>
              <a:avLst/>
              <a:gdLst>
                <a:gd name="T0" fmla="*/ 7 w 7"/>
                <a:gd name="T1" fmla="*/ 0 h 8"/>
                <a:gd name="T2" fmla="*/ 0 w 7"/>
                <a:gd name="T3" fmla="*/ 8 h 8"/>
                <a:gd name="T4" fmla="*/ 0 w 7"/>
                <a:gd name="T5" fmla="*/ 8 h 8"/>
                <a:gd name="T6" fmla="*/ 7 w 7"/>
                <a:gd name="T7" fmla="*/ 0 h 8"/>
                <a:gd name="T8" fmla="*/ 7 w 7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7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7368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9" name="Freeform 25"/>
            <p:cNvSpPr>
              <a:spLocks/>
            </p:cNvSpPr>
            <p:nvPr/>
          </p:nvSpPr>
          <p:spPr bwMode="auto">
            <a:xfrm>
              <a:off x="5707063" y="5427663"/>
              <a:ext cx="11113" cy="12700"/>
            </a:xfrm>
            <a:custGeom>
              <a:avLst/>
              <a:gdLst>
                <a:gd name="T0" fmla="*/ 7 w 7"/>
                <a:gd name="T1" fmla="*/ 0 h 8"/>
                <a:gd name="T2" fmla="*/ 0 w 7"/>
                <a:gd name="T3" fmla="*/ 8 h 8"/>
                <a:gd name="T4" fmla="*/ 0 w 7"/>
                <a:gd name="T5" fmla="*/ 8 h 8"/>
                <a:gd name="T6" fmla="*/ 7 w 7"/>
                <a:gd name="T7" fmla="*/ 0 h 8"/>
                <a:gd name="T8" fmla="*/ 7 w 7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7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0" name="Rectangle 109"/>
            <p:cNvSpPr>
              <a:spLocks noChangeArrowheads="1"/>
            </p:cNvSpPr>
            <p:nvPr/>
          </p:nvSpPr>
          <p:spPr bwMode="auto">
            <a:xfrm>
              <a:off x="5718175" y="5426075"/>
              <a:ext cx="1588" cy="1588"/>
            </a:xfrm>
            <a:prstGeom prst="rect">
              <a:avLst/>
            </a:prstGeom>
            <a:solidFill>
              <a:srgbClr val="6158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1" name="Rectangle 110"/>
            <p:cNvSpPr>
              <a:spLocks noChangeArrowheads="1"/>
            </p:cNvSpPr>
            <p:nvPr/>
          </p:nvSpPr>
          <p:spPr bwMode="auto">
            <a:xfrm>
              <a:off x="5718175" y="5426075"/>
              <a:ext cx="1588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6688138" y="6416675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11 h 11"/>
                <a:gd name="T4" fmla="*/ 12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0" y="1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C2B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6688138" y="6416675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11 h 11"/>
                <a:gd name="T4" fmla="*/ 12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0" y="11"/>
                  </a:lnTo>
                  <a:lnTo>
                    <a:pt x="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30"/>
            <p:cNvSpPr>
              <a:spLocks/>
            </p:cNvSpPr>
            <p:nvPr/>
          </p:nvSpPr>
          <p:spPr bwMode="auto">
            <a:xfrm>
              <a:off x="5680075" y="5426075"/>
              <a:ext cx="1027113" cy="1027113"/>
            </a:xfrm>
            <a:custGeom>
              <a:avLst/>
              <a:gdLst>
                <a:gd name="T0" fmla="*/ 17 w 452"/>
                <a:gd name="T1" fmla="*/ 0 h 452"/>
                <a:gd name="T2" fmla="*/ 17 w 452"/>
                <a:gd name="T3" fmla="*/ 1 h 452"/>
                <a:gd name="T4" fmla="*/ 12 w 452"/>
                <a:gd name="T5" fmla="*/ 6 h 452"/>
                <a:gd name="T6" fmla="*/ 9 w 452"/>
                <a:gd name="T7" fmla="*/ 9 h 452"/>
                <a:gd name="T8" fmla="*/ 0 w 452"/>
                <a:gd name="T9" fmla="*/ 29 h 452"/>
                <a:gd name="T10" fmla="*/ 9 w 452"/>
                <a:gd name="T11" fmla="*/ 50 h 452"/>
                <a:gd name="T12" fmla="*/ 403 w 452"/>
                <a:gd name="T13" fmla="*/ 444 h 452"/>
                <a:gd name="T14" fmla="*/ 424 w 452"/>
                <a:gd name="T15" fmla="*/ 452 h 452"/>
                <a:gd name="T16" fmla="*/ 444 w 452"/>
                <a:gd name="T17" fmla="*/ 444 h 452"/>
                <a:gd name="T18" fmla="*/ 444 w 452"/>
                <a:gd name="T19" fmla="*/ 444 h 452"/>
                <a:gd name="T20" fmla="*/ 452 w 452"/>
                <a:gd name="T21" fmla="*/ 436 h 452"/>
                <a:gd name="T22" fmla="*/ 17 w 452"/>
                <a:gd name="T23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2" h="452">
                  <a:moveTo>
                    <a:pt x="17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3" y="14"/>
                    <a:pt x="0" y="22"/>
                    <a:pt x="0" y="29"/>
                  </a:cubicBezTo>
                  <a:cubicBezTo>
                    <a:pt x="0" y="37"/>
                    <a:pt x="3" y="44"/>
                    <a:pt x="9" y="50"/>
                  </a:cubicBezTo>
                  <a:cubicBezTo>
                    <a:pt x="403" y="444"/>
                    <a:pt x="403" y="444"/>
                    <a:pt x="403" y="444"/>
                  </a:cubicBezTo>
                  <a:cubicBezTo>
                    <a:pt x="409" y="450"/>
                    <a:pt x="416" y="452"/>
                    <a:pt x="424" y="452"/>
                  </a:cubicBezTo>
                  <a:cubicBezTo>
                    <a:pt x="431" y="452"/>
                    <a:pt x="438" y="450"/>
                    <a:pt x="444" y="444"/>
                  </a:cubicBezTo>
                  <a:cubicBezTo>
                    <a:pt x="444" y="444"/>
                    <a:pt x="444" y="444"/>
                    <a:pt x="444" y="444"/>
                  </a:cubicBezTo>
                  <a:cubicBezTo>
                    <a:pt x="452" y="436"/>
                    <a:pt x="452" y="436"/>
                    <a:pt x="452" y="436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5" name="Freeform 31"/>
            <p:cNvSpPr>
              <a:spLocks/>
            </p:cNvSpPr>
            <p:nvPr/>
          </p:nvSpPr>
          <p:spPr bwMode="auto">
            <a:xfrm>
              <a:off x="5199063" y="4745038"/>
              <a:ext cx="315913" cy="315913"/>
            </a:xfrm>
            <a:custGeom>
              <a:avLst/>
              <a:gdLst>
                <a:gd name="T0" fmla="*/ 54 w 199"/>
                <a:gd name="T1" fmla="*/ 199 h 199"/>
                <a:gd name="T2" fmla="*/ 199 w 199"/>
                <a:gd name="T3" fmla="*/ 53 h 199"/>
                <a:gd name="T4" fmla="*/ 146 w 199"/>
                <a:gd name="T5" fmla="*/ 0 h 199"/>
                <a:gd name="T6" fmla="*/ 0 w 199"/>
                <a:gd name="T7" fmla="*/ 144 h 199"/>
                <a:gd name="T8" fmla="*/ 54 w 199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99">
                  <a:moveTo>
                    <a:pt x="54" y="199"/>
                  </a:moveTo>
                  <a:lnTo>
                    <a:pt x="199" y="53"/>
                  </a:lnTo>
                  <a:lnTo>
                    <a:pt x="146" y="0"/>
                  </a:lnTo>
                  <a:lnTo>
                    <a:pt x="0" y="144"/>
                  </a:lnTo>
                  <a:lnTo>
                    <a:pt x="54" y="199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32"/>
            <p:cNvSpPr>
              <a:spLocks/>
            </p:cNvSpPr>
            <p:nvPr/>
          </p:nvSpPr>
          <p:spPr bwMode="auto">
            <a:xfrm>
              <a:off x="5203825" y="4935538"/>
              <a:ext cx="119063" cy="117475"/>
            </a:xfrm>
            <a:custGeom>
              <a:avLst/>
              <a:gdLst>
                <a:gd name="T0" fmla="*/ 54 w 75"/>
                <a:gd name="T1" fmla="*/ 74 h 74"/>
                <a:gd name="T2" fmla="*/ 75 w 75"/>
                <a:gd name="T3" fmla="*/ 54 h 74"/>
                <a:gd name="T4" fmla="*/ 21 w 75"/>
                <a:gd name="T5" fmla="*/ 0 h 74"/>
                <a:gd name="T6" fmla="*/ 0 w 75"/>
                <a:gd name="T7" fmla="*/ 21 h 74"/>
                <a:gd name="T8" fmla="*/ 54 w 75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4">
                  <a:moveTo>
                    <a:pt x="54" y="74"/>
                  </a:moveTo>
                  <a:lnTo>
                    <a:pt x="75" y="54"/>
                  </a:lnTo>
                  <a:lnTo>
                    <a:pt x="21" y="0"/>
                  </a:lnTo>
                  <a:lnTo>
                    <a:pt x="0" y="21"/>
                  </a:lnTo>
                  <a:lnTo>
                    <a:pt x="54" y="74"/>
                  </a:lnTo>
                  <a:close/>
                </a:path>
              </a:pathLst>
            </a:cu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7" name="Freeform 33"/>
            <p:cNvSpPr>
              <a:spLocks/>
            </p:cNvSpPr>
            <p:nvPr/>
          </p:nvSpPr>
          <p:spPr bwMode="auto">
            <a:xfrm>
              <a:off x="5251450" y="4908550"/>
              <a:ext cx="100013" cy="100013"/>
            </a:xfrm>
            <a:custGeom>
              <a:avLst/>
              <a:gdLst>
                <a:gd name="T0" fmla="*/ 53 w 63"/>
                <a:gd name="T1" fmla="*/ 63 h 63"/>
                <a:gd name="T2" fmla="*/ 63 w 63"/>
                <a:gd name="T3" fmla="*/ 54 h 63"/>
                <a:gd name="T4" fmla="*/ 8 w 63"/>
                <a:gd name="T5" fmla="*/ 0 h 63"/>
                <a:gd name="T6" fmla="*/ 0 w 63"/>
                <a:gd name="T7" fmla="*/ 8 h 63"/>
                <a:gd name="T8" fmla="*/ 53 w 63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53" y="63"/>
                  </a:moveTo>
                  <a:lnTo>
                    <a:pt x="63" y="54"/>
                  </a:lnTo>
                  <a:lnTo>
                    <a:pt x="8" y="0"/>
                  </a:lnTo>
                  <a:lnTo>
                    <a:pt x="0" y="8"/>
                  </a:lnTo>
                  <a:lnTo>
                    <a:pt x="53" y="63"/>
                  </a:lnTo>
                  <a:close/>
                </a:path>
              </a:pathLst>
            </a:cu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34"/>
            <p:cNvSpPr>
              <a:spLocks/>
            </p:cNvSpPr>
            <p:nvPr/>
          </p:nvSpPr>
          <p:spPr bwMode="auto">
            <a:xfrm>
              <a:off x="3178175" y="2724150"/>
              <a:ext cx="2547938" cy="2544763"/>
            </a:xfrm>
            <a:custGeom>
              <a:avLst/>
              <a:gdLst>
                <a:gd name="T0" fmla="*/ 1076 w 1122"/>
                <a:gd name="T1" fmla="*/ 561 h 1121"/>
                <a:gd name="T2" fmla="*/ 1030 w 1122"/>
                <a:gd name="T3" fmla="*/ 561 h 1121"/>
                <a:gd name="T4" fmla="*/ 993 w 1122"/>
                <a:gd name="T5" fmla="*/ 743 h 1121"/>
                <a:gd name="T6" fmla="*/ 823 w 1122"/>
                <a:gd name="T7" fmla="*/ 949 h 1121"/>
                <a:gd name="T8" fmla="*/ 561 w 1122"/>
                <a:gd name="T9" fmla="*/ 1029 h 1121"/>
                <a:gd name="T10" fmla="*/ 379 w 1122"/>
                <a:gd name="T11" fmla="*/ 993 h 1121"/>
                <a:gd name="T12" fmla="*/ 172 w 1122"/>
                <a:gd name="T13" fmla="*/ 823 h 1121"/>
                <a:gd name="T14" fmla="*/ 92 w 1122"/>
                <a:gd name="T15" fmla="*/ 561 h 1121"/>
                <a:gd name="T16" fmla="*/ 129 w 1122"/>
                <a:gd name="T17" fmla="*/ 378 h 1121"/>
                <a:gd name="T18" fmla="*/ 299 w 1122"/>
                <a:gd name="T19" fmla="*/ 172 h 1121"/>
                <a:gd name="T20" fmla="*/ 561 w 1122"/>
                <a:gd name="T21" fmla="*/ 92 h 1121"/>
                <a:gd name="T22" fmla="*/ 744 w 1122"/>
                <a:gd name="T23" fmla="*/ 128 h 1121"/>
                <a:gd name="T24" fmla="*/ 950 w 1122"/>
                <a:gd name="T25" fmla="*/ 298 h 1121"/>
                <a:gd name="T26" fmla="*/ 1030 w 1122"/>
                <a:gd name="T27" fmla="*/ 561 h 1121"/>
                <a:gd name="T28" fmla="*/ 1076 w 1122"/>
                <a:gd name="T29" fmla="*/ 561 h 1121"/>
                <a:gd name="T30" fmla="*/ 1122 w 1122"/>
                <a:gd name="T31" fmla="*/ 561 h 1121"/>
                <a:gd name="T32" fmla="*/ 1078 w 1122"/>
                <a:gd name="T33" fmla="*/ 342 h 1121"/>
                <a:gd name="T34" fmla="*/ 875 w 1122"/>
                <a:gd name="T35" fmla="*/ 96 h 1121"/>
                <a:gd name="T36" fmla="*/ 561 w 1122"/>
                <a:gd name="T37" fmla="*/ 0 h 1121"/>
                <a:gd name="T38" fmla="*/ 343 w 1122"/>
                <a:gd name="T39" fmla="*/ 44 h 1121"/>
                <a:gd name="T40" fmla="*/ 96 w 1122"/>
                <a:gd name="T41" fmla="*/ 247 h 1121"/>
                <a:gd name="T42" fmla="*/ 0 w 1122"/>
                <a:gd name="T43" fmla="*/ 561 h 1121"/>
                <a:gd name="T44" fmla="*/ 44 w 1122"/>
                <a:gd name="T45" fmla="*/ 779 h 1121"/>
                <a:gd name="T46" fmla="*/ 248 w 1122"/>
                <a:gd name="T47" fmla="*/ 1026 h 1121"/>
                <a:gd name="T48" fmla="*/ 561 w 1122"/>
                <a:gd name="T49" fmla="*/ 1121 h 1121"/>
                <a:gd name="T50" fmla="*/ 779 w 1122"/>
                <a:gd name="T51" fmla="*/ 1077 h 1121"/>
                <a:gd name="T52" fmla="*/ 1026 w 1122"/>
                <a:gd name="T53" fmla="*/ 874 h 1121"/>
                <a:gd name="T54" fmla="*/ 1122 w 1122"/>
                <a:gd name="T55" fmla="*/ 561 h 1121"/>
                <a:gd name="T56" fmla="*/ 1076 w 1122"/>
                <a:gd name="T57" fmla="*/ 561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2" h="1121">
                  <a:moveTo>
                    <a:pt x="1076" y="561"/>
                  </a:moveTo>
                  <a:cubicBezTo>
                    <a:pt x="1030" y="561"/>
                    <a:pt x="1030" y="561"/>
                    <a:pt x="1030" y="561"/>
                  </a:cubicBezTo>
                  <a:cubicBezTo>
                    <a:pt x="1030" y="625"/>
                    <a:pt x="1017" y="687"/>
                    <a:pt x="993" y="743"/>
                  </a:cubicBezTo>
                  <a:cubicBezTo>
                    <a:pt x="958" y="827"/>
                    <a:pt x="898" y="899"/>
                    <a:pt x="823" y="949"/>
                  </a:cubicBezTo>
                  <a:cubicBezTo>
                    <a:pt x="748" y="1000"/>
                    <a:pt x="658" y="1029"/>
                    <a:pt x="561" y="1029"/>
                  </a:cubicBezTo>
                  <a:cubicBezTo>
                    <a:pt x="496" y="1029"/>
                    <a:pt x="435" y="1016"/>
                    <a:pt x="379" y="993"/>
                  </a:cubicBezTo>
                  <a:cubicBezTo>
                    <a:pt x="294" y="957"/>
                    <a:pt x="223" y="898"/>
                    <a:pt x="172" y="823"/>
                  </a:cubicBezTo>
                  <a:cubicBezTo>
                    <a:pt x="122" y="748"/>
                    <a:pt x="92" y="658"/>
                    <a:pt x="92" y="561"/>
                  </a:cubicBezTo>
                  <a:cubicBezTo>
                    <a:pt x="92" y="496"/>
                    <a:pt x="105" y="434"/>
                    <a:pt x="129" y="378"/>
                  </a:cubicBezTo>
                  <a:cubicBezTo>
                    <a:pt x="165" y="294"/>
                    <a:pt x="224" y="222"/>
                    <a:pt x="299" y="172"/>
                  </a:cubicBezTo>
                  <a:cubicBezTo>
                    <a:pt x="374" y="121"/>
                    <a:pt x="464" y="92"/>
                    <a:pt x="561" y="92"/>
                  </a:cubicBezTo>
                  <a:cubicBezTo>
                    <a:pt x="626" y="92"/>
                    <a:pt x="688" y="105"/>
                    <a:pt x="744" y="128"/>
                  </a:cubicBezTo>
                  <a:cubicBezTo>
                    <a:pt x="828" y="164"/>
                    <a:pt x="899" y="224"/>
                    <a:pt x="950" y="298"/>
                  </a:cubicBezTo>
                  <a:cubicBezTo>
                    <a:pt x="1000" y="373"/>
                    <a:pt x="1030" y="463"/>
                    <a:pt x="1030" y="561"/>
                  </a:cubicBezTo>
                  <a:cubicBezTo>
                    <a:pt x="1076" y="561"/>
                    <a:pt x="1076" y="561"/>
                    <a:pt x="1076" y="561"/>
                  </a:cubicBezTo>
                  <a:cubicBezTo>
                    <a:pt x="1122" y="561"/>
                    <a:pt x="1122" y="561"/>
                    <a:pt x="1122" y="561"/>
                  </a:cubicBezTo>
                  <a:cubicBezTo>
                    <a:pt x="1122" y="483"/>
                    <a:pt x="1106" y="409"/>
                    <a:pt x="1078" y="342"/>
                  </a:cubicBezTo>
                  <a:cubicBezTo>
                    <a:pt x="1035" y="242"/>
                    <a:pt x="964" y="156"/>
                    <a:pt x="875" y="96"/>
                  </a:cubicBezTo>
                  <a:cubicBezTo>
                    <a:pt x="785" y="35"/>
                    <a:pt x="677" y="0"/>
                    <a:pt x="561" y="0"/>
                  </a:cubicBezTo>
                  <a:cubicBezTo>
                    <a:pt x="484" y="0"/>
                    <a:pt x="410" y="15"/>
                    <a:pt x="343" y="44"/>
                  </a:cubicBezTo>
                  <a:cubicBezTo>
                    <a:pt x="242" y="86"/>
                    <a:pt x="157" y="157"/>
                    <a:pt x="96" y="247"/>
                  </a:cubicBezTo>
                  <a:cubicBezTo>
                    <a:pt x="36" y="336"/>
                    <a:pt x="0" y="445"/>
                    <a:pt x="0" y="561"/>
                  </a:cubicBezTo>
                  <a:cubicBezTo>
                    <a:pt x="0" y="638"/>
                    <a:pt x="16" y="712"/>
                    <a:pt x="44" y="779"/>
                  </a:cubicBezTo>
                  <a:cubicBezTo>
                    <a:pt x="87" y="880"/>
                    <a:pt x="158" y="965"/>
                    <a:pt x="248" y="1026"/>
                  </a:cubicBezTo>
                  <a:cubicBezTo>
                    <a:pt x="337" y="1086"/>
                    <a:pt x="445" y="1121"/>
                    <a:pt x="561" y="1121"/>
                  </a:cubicBezTo>
                  <a:cubicBezTo>
                    <a:pt x="638" y="1121"/>
                    <a:pt x="712" y="1106"/>
                    <a:pt x="779" y="1077"/>
                  </a:cubicBezTo>
                  <a:cubicBezTo>
                    <a:pt x="880" y="1035"/>
                    <a:pt x="966" y="964"/>
                    <a:pt x="1026" y="874"/>
                  </a:cubicBezTo>
                  <a:cubicBezTo>
                    <a:pt x="1087" y="785"/>
                    <a:pt x="1122" y="677"/>
                    <a:pt x="1122" y="561"/>
                  </a:cubicBezTo>
                  <a:lnTo>
                    <a:pt x="1076" y="561"/>
                  </a:lnTo>
                  <a:close/>
                </a:path>
              </a:pathLst>
            </a:cu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35"/>
            <p:cNvSpPr>
              <a:spLocks/>
            </p:cNvSpPr>
            <p:nvPr/>
          </p:nvSpPr>
          <p:spPr bwMode="auto">
            <a:xfrm>
              <a:off x="3230563" y="2776538"/>
              <a:ext cx="2443163" cy="2439988"/>
            </a:xfrm>
            <a:custGeom>
              <a:avLst/>
              <a:gdLst>
                <a:gd name="T0" fmla="*/ 1053 w 1076"/>
                <a:gd name="T1" fmla="*/ 538 h 1075"/>
                <a:gd name="T2" fmla="*/ 1030 w 1076"/>
                <a:gd name="T3" fmla="*/ 538 h 1075"/>
                <a:gd name="T4" fmla="*/ 886 w 1076"/>
                <a:gd name="T5" fmla="*/ 885 h 1075"/>
                <a:gd name="T6" fmla="*/ 538 w 1076"/>
                <a:gd name="T7" fmla="*/ 1029 h 1075"/>
                <a:gd name="T8" fmla="*/ 190 w 1076"/>
                <a:gd name="T9" fmla="*/ 885 h 1075"/>
                <a:gd name="T10" fmla="*/ 46 w 1076"/>
                <a:gd name="T11" fmla="*/ 538 h 1075"/>
                <a:gd name="T12" fmla="*/ 190 w 1076"/>
                <a:gd name="T13" fmla="*/ 190 h 1075"/>
                <a:gd name="T14" fmla="*/ 538 w 1076"/>
                <a:gd name="T15" fmla="*/ 46 h 1075"/>
                <a:gd name="T16" fmla="*/ 886 w 1076"/>
                <a:gd name="T17" fmla="*/ 190 h 1075"/>
                <a:gd name="T18" fmla="*/ 1030 w 1076"/>
                <a:gd name="T19" fmla="*/ 538 h 1075"/>
                <a:gd name="T20" fmla="*/ 1053 w 1076"/>
                <a:gd name="T21" fmla="*/ 538 h 1075"/>
                <a:gd name="T22" fmla="*/ 1076 w 1076"/>
                <a:gd name="T23" fmla="*/ 538 h 1075"/>
                <a:gd name="T24" fmla="*/ 918 w 1076"/>
                <a:gd name="T25" fmla="*/ 157 h 1075"/>
                <a:gd name="T26" fmla="*/ 538 w 1076"/>
                <a:gd name="T27" fmla="*/ 0 h 1075"/>
                <a:gd name="T28" fmla="*/ 158 w 1076"/>
                <a:gd name="T29" fmla="*/ 157 h 1075"/>
                <a:gd name="T30" fmla="*/ 0 w 1076"/>
                <a:gd name="T31" fmla="*/ 538 h 1075"/>
                <a:gd name="T32" fmla="*/ 158 w 1076"/>
                <a:gd name="T33" fmla="*/ 918 h 1075"/>
                <a:gd name="T34" fmla="*/ 538 w 1076"/>
                <a:gd name="T35" fmla="*/ 1075 h 1075"/>
                <a:gd name="T36" fmla="*/ 918 w 1076"/>
                <a:gd name="T37" fmla="*/ 918 h 1075"/>
                <a:gd name="T38" fmla="*/ 1076 w 1076"/>
                <a:gd name="T39" fmla="*/ 538 h 1075"/>
                <a:gd name="T40" fmla="*/ 1053 w 1076"/>
                <a:gd name="T41" fmla="*/ 538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6" h="1075">
                  <a:moveTo>
                    <a:pt x="1053" y="538"/>
                  </a:moveTo>
                  <a:cubicBezTo>
                    <a:pt x="1030" y="538"/>
                    <a:pt x="1030" y="538"/>
                    <a:pt x="1030" y="538"/>
                  </a:cubicBezTo>
                  <a:cubicBezTo>
                    <a:pt x="1030" y="673"/>
                    <a:pt x="975" y="796"/>
                    <a:pt x="886" y="885"/>
                  </a:cubicBezTo>
                  <a:cubicBezTo>
                    <a:pt x="797" y="974"/>
                    <a:pt x="674" y="1029"/>
                    <a:pt x="538" y="1029"/>
                  </a:cubicBezTo>
                  <a:cubicBezTo>
                    <a:pt x="402" y="1029"/>
                    <a:pt x="279" y="974"/>
                    <a:pt x="190" y="885"/>
                  </a:cubicBezTo>
                  <a:cubicBezTo>
                    <a:pt x="101" y="796"/>
                    <a:pt x="46" y="673"/>
                    <a:pt x="46" y="538"/>
                  </a:cubicBezTo>
                  <a:cubicBezTo>
                    <a:pt x="46" y="402"/>
                    <a:pt x="101" y="279"/>
                    <a:pt x="190" y="190"/>
                  </a:cubicBezTo>
                  <a:cubicBezTo>
                    <a:pt x="279" y="101"/>
                    <a:pt x="402" y="46"/>
                    <a:pt x="538" y="46"/>
                  </a:cubicBezTo>
                  <a:cubicBezTo>
                    <a:pt x="674" y="46"/>
                    <a:pt x="797" y="101"/>
                    <a:pt x="886" y="190"/>
                  </a:cubicBezTo>
                  <a:cubicBezTo>
                    <a:pt x="975" y="279"/>
                    <a:pt x="1030" y="402"/>
                    <a:pt x="1030" y="538"/>
                  </a:cubicBezTo>
                  <a:cubicBezTo>
                    <a:pt x="1053" y="538"/>
                    <a:pt x="1053" y="538"/>
                    <a:pt x="1053" y="538"/>
                  </a:cubicBezTo>
                  <a:cubicBezTo>
                    <a:pt x="1076" y="538"/>
                    <a:pt x="1076" y="538"/>
                    <a:pt x="1076" y="538"/>
                  </a:cubicBezTo>
                  <a:cubicBezTo>
                    <a:pt x="1076" y="389"/>
                    <a:pt x="1016" y="255"/>
                    <a:pt x="918" y="157"/>
                  </a:cubicBezTo>
                  <a:cubicBezTo>
                    <a:pt x="821" y="60"/>
                    <a:pt x="687" y="0"/>
                    <a:pt x="538" y="0"/>
                  </a:cubicBezTo>
                  <a:cubicBezTo>
                    <a:pt x="390" y="0"/>
                    <a:pt x="255" y="60"/>
                    <a:pt x="158" y="157"/>
                  </a:cubicBezTo>
                  <a:cubicBezTo>
                    <a:pt x="61" y="255"/>
                    <a:pt x="0" y="389"/>
                    <a:pt x="0" y="538"/>
                  </a:cubicBezTo>
                  <a:cubicBezTo>
                    <a:pt x="0" y="686"/>
                    <a:pt x="61" y="821"/>
                    <a:pt x="158" y="918"/>
                  </a:cubicBezTo>
                  <a:cubicBezTo>
                    <a:pt x="255" y="1015"/>
                    <a:pt x="390" y="1075"/>
                    <a:pt x="538" y="1075"/>
                  </a:cubicBezTo>
                  <a:cubicBezTo>
                    <a:pt x="687" y="1075"/>
                    <a:pt x="821" y="1015"/>
                    <a:pt x="918" y="918"/>
                  </a:cubicBezTo>
                  <a:cubicBezTo>
                    <a:pt x="1016" y="821"/>
                    <a:pt x="1076" y="686"/>
                    <a:pt x="1076" y="538"/>
                  </a:cubicBezTo>
                  <a:lnTo>
                    <a:pt x="1053" y="538"/>
                  </a:lnTo>
                  <a:close/>
                </a:path>
              </a:pathLst>
            </a:cu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4284664" y="2819401"/>
            <a:ext cx="3579813" cy="3128963"/>
            <a:chOff x="2484438" y="2819400"/>
            <a:chExt cx="3579813" cy="3128963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21" name="Freeform 11"/>
            <p:cNvSpPr>
              <a:spLocks/>
            </p:cNvSpPr>
            <p:nvPr/>
          </p:nvSpPr>
          <p:spPr bwMode="auto">
            <a:xfrm>
              <a:off x="2840038" y="2819400"/>
              <a:ext cx="3224213" cy="2787650"/>
            </a:xfrm>
            <a:custGeom>
              <a:avLst/>
              <a:gdLst>
                <a:gd name="T0" fmla="*/ 710 w 1420"/>
                <a:gd name="T1" fmla="*/ 1228 h 1228"/>
                <a:gd name="T2" fmla="*/ 208 w 1420"/>
                <a:gd name="T3" fmla="*/ 1020 h 1228"/>
                <a:gd name="T4" fmla="*/ 0 w 1420"/>
                <a:gd name="T5" fmla="*/ 519 h 1228"/>
                <a:gd name="T6" fmla="*/ 208 w 1420"/>
                <a:gd name="T7" fmla="*/ 17 h 1228"/>
                <a:gd name="T8" fmla="*/ 270 w 1420"/>
                <a:gd name="T9" fmla="*/ 17 h 1228"/>
                <a:gd name="T10" fmla="*/ 270 w 1420"/>
                <a:gd name="T11" fmla="*/ 80 h 1228"/>
                <a:gd name="T12" fmla="*/ 89 w 1420"/>
                <a:gd name="T13" fmla="*/ 519 h 1228"/>
                <a:gd name="T14" fmla="*/ 710 w 1420"/>
                <a:gd name="T15" fmla="*/ 1140 h 1228"/>
                <a:gd name="T16" fmla="*/ 1331 w 1420"/>
                <a:gd name="T17" fmla="*/ 519 h 1228"/>
                <a:gd name="T18" fmla="*/ 1376 w 1420"/>
                <a:gd name="T19" fmla="*/ 474 h 1228"/>
                <a:gd name="T20" fmla="*/ 1420 w 1420"/>
                <a:gd name="T21" fmla="*/ 519 h 1228"/>
                <a:gd name="T22" fmla="*/ 1212 w 1420"/>
                <a:gd name="T23" fmla="*/ 1020 h 1228"/>
                <a:gd name="T24" fmla="*/ 710 w 1420"/>
                <a:gd name="T25" fmla="*/ 1228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0" h="1228">
                  <a:moveTo>
                    <a:pt x="710" y="1228"/>
                  </a:moveTo>
                  <a:cubicBezTo>
                    <a:pt x="520" y="1228"/>
                    <a:pt x="342" y="1154"/>
                    <a:pt x="208" y="1020"/>
                  </a:cubicBezTo>
                  <a:cubicBezTo>
                    <a:pt x="74" y="886"/>
                    <a:pt x="0" y="708"/>
                    <a:pt x="0" y="519"/>
                  </a:cubicBezTo>
                  <a:cubicBezTo>
                    <a:pt x="0" y="329"/>
                    <a:pt x="74" y="151"/>
                    <a:pt x="208" y="17"/>
                  </a:cubicBezTo>
                  <a:cubicBezTo>
                    <a:pt x="225" y="0"/>
                    <a:pt x="253" y="0"/>
                    <a:pt x="270" y="17"/>
                  </a:cubicBezTo>
                  <a:cubicBezTo>
                    <a:pt x="288" y="34"/>
                    <a:pt x="288" y="62"/>
                    <a:pt x="270" y="80"/>
                  </a:cubicBezTo>
                  <a:cubicBezTo>
                    <a:pt x="153" y="197"/>
                    <a:pt x="89" y="353"/>
                    <a:pt x="89" y="519"/>
                  </a:cubicBezTo>
                  <a:cubicBezTo>
                    <a:pt x="89" y="861"/>
                    <a:pt x="368" y="1140"/>
                    <a:pt x="710" y="1140"/>
                  </a:cubicBezTo>
                  <a:cubicBezTo>
                    <a:pt x="1053" y="1140"/>
                    <a:pt x="1331" y="861"/>
                    <a:pt x="1331" y="519"/>
                  </a:cubicBezTo>
                  <a:cubicBezTo>
                    <a:pt x="1331" y="494"/>
                    <a:pt x="1351" y="474"/>
                    <a:pt x="1376" y="474"/>
                  </a:cubicBezTo>
                  <a:cubicBezTo>
                    <a:pt x="1400" y="474"/>
                    <a:pt x="1420" y="494"/>
                    <a:pt x="1420" y="519"/>
                  </a:cubicBezTo>
                  <a:cubicBezTo>
                    <a:pt x="1420" y="708"/>
                    <a:pt x="1346" y="886"/>
                    <a:pt x="1212" y="1020"/>
                  </a:cubicBezTo>
                  <a:cubicBezTo>
                    <a:pt x="1078" y="1154"/>
                    <a:pt x="900" y="1228"/>
                    <a:pt x="710" y="1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2" name="Freeform 36"/>
            <p:cNvSpPr>
              <a:spLocks/>
            </p:cNvSpPr>
            <p:nvPr/>
          </p:nvSpPr>
          <p:spPr bwMode="auto">
            <a:xfrm>
              <a:off x="2560638" y="5024438"/>
              <a:ext cx="849313" cy="849313"/>
            </a:xfrm>
            <a:custGeom>
              <a:avLst/>
              <a:gdLst>
                <a:gd name="T0" fmla="*/ 38 w 535"/>
                <a:gd name="T1" fmla="*/ 535 h 535"/>
                <a:gd name="T2" fmla="*/ 0 w 535"/>
                <a:gd name="T3" fmla="*/ 496 h 535"/>
                <a:gd name="T4" fmla="*/ 496 w 535"/>
                <a:gd name="T5" fmla="*/ 0 h 535"/>
                <a:gd name="T6" fmla="*/ 535 w 535"/>
                <a:gd name="T7" fmla="*/ 38 h 535"/>
                <a:gd name="T8" fmla="*/ 38 w 535"/>
                <a:gd name="T9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5" h="535">
                  <a:moveTo>
                    <a:pt x="38" y="535"/>
                  </a:moveTo>
                  <a:lnTo>
                    <a:pt x="0" y="496"/>
                  </a:lnTo>
                  <a:lnTo>
                    <a:pt x="496" y="0"/>
                  </a:lnTo>
                  <a:lnTo>
                    <a:pt x="535" y="38"/>
                  </a:lnTo>
                  <a:lnTo>
                    <a:pt x="38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3" name="Freeform 37"/>
            <p:cNvSpPr>
              <a:spLocks/>
            </p:cNvSpPr>
            <p:nvPr/>
          </p:nvSpPr>
          <p:spPr bwMode="auto">
            <a:xfrm>
              <a:off x="2484438" y="5732463"/>
              <a:ext cx="215900" cy="215900"/>
            </a:xfrm>
            <a:custGeom>
              <a:avLst/>
              <a:gdLst>
                <a:gd name="T0" fmla="*/ 17 w 95"/>
                <a:gd name="T1" fmla="*/ 17 h 95"/>
                <a:gd name="T2" fmla="*/ 17 w 95"/>
                <a:gd name="T3" fmla="*/ 78 h 95"/>
                <a:gd name="T4" fmla="*/ 79 w 95"/>
                <a:gd name="T5" fmla="*/ 78 h 95"/>
                <a:gd name="T6" fmla="*/ 79 w 95"/>
                <a:gd name="T7" fmla="*/ 17 h 95"/>
                <a:gd name="T8" fmla="*/ 17 w 95"/>
                <a:gd name="T9" fmla="*/ 1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17" y="17"/>
                  </a:moveTo>
                  <a:cubicBezTo>
                    <a:pt x="0" y="33"/>
                    <a:pt x="0" y="61"/>
                    <a:pt x="17" y="78"/>
                  </a:cubicBezTo>
                  <a:cubicBezTo>
                    <a:pt x="34" y="95"/>
                    <a:pt x="62" y="95"/>
                    <a:pt x="79" y="78"/>
                  </a:cubicBezTo>
                  <a:cubicBezTo>
                    <a:pt x="95" y="61"/>
                    <a:pt x="95" y="33"/>
                    <a:pt x="79" y="17"/>
                  </a:cubicBezTo>
                  <a:cubicBezTo>
                    <a:pt x="62" y="0"/>
                    <a:pt x="34" y="0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3738885" y="1477457"/>
            <a:ext cx="588346" cy="586856"/>
            <a:chOff x="1844383" y="1394308"/>
            <a:chExt cx="861398" cy="859217"/>
          </a:xfrm>
        </p:grpSpPr>
        <p:sp>
          <p:nvSpPr>
            <p:cNvPr id="163" name="Oval 162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4" name="Oval 163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FEA34F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7810680" y="1491270"/>
            <a:ext cx="588346" cy="586856"/>
            <a:chOff x="1844383" y="1394308"/>
            <a:chExt cx="861398" cy="859217"/>
          </a:xfrm>
        </p:grpSpPr>
        <p:sp>
          <p:nvSpPr>
            <p:cNvPr id="169" name="Oval 168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0" name="Oval 169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46B688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>
            <a:off x="3637674" y="5504207"/>
            <a:ext cx="588346" cy="586856"/>
            <a:chOff x="1844383" y="1394308"/>
            <a:chExt cx="861398" cy="859217"/>
          </a:xfrm>
        </p:grpSpPr>
        <p:sp>
          <p:nvSpPr>
            <p:cNvPr id="173" name="Oval 172"/>
            <p:cNvSpPr>
              <a:spLocks noChangeArrowheads="1"/>
            </p:cNvSpPr>
            <p:nvPr/>
          </p:nvSpPr>
          <p:spPr bwMode="auto">
            <a:xfrm>
              <a:off x="1844383" y="1394308"/>
              <a:ext cx="861398" cy="859217"/>
            </a:xfrm>
            <a:prstGeom prst="ellipse">
              <a:avLst/>
            </a:pr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4" name="Oval 173"/>
            <p:cNvSpPr>
              <a:spLocks noChangeArrowheads="1"/>
            </p:cNvSpPr>
            <p:nvPr/>
          </p:nvSpPr>
          <p:spPr bwMode="auto">
            <a:xfrm>
              <a:off x="1941427" y="1490261"/>
              <a:ext cx="666221" cy="668402"/>
            </a:xfrm>
            <a:prstGeom prst="ellipse">
              <a:avLst/>
            </a:prstGeom>
            <a:solidFill>
              <a:srgbClr val="016AA3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75" name="Freeform 3391"/>
          <p:cNvSpPr>
            <a:spLocks noEditPoints="1"/>
          </p:cNvSpPr>
          <p:nvPr/>
        </p:nvSpPr>
        <p:spPr bwMode="auto">
          <a:xfrm>
            <a:off x="3839446" y="5702380"/>
            <a:ext cx="184058" cy="184058"/>
          </a:xfrm>
          <a:custGeom>
            <a:avLst/>
            <a:gdLst>
              <a:gd name="T0" fmla="*/ 400 w 721"/>
              <a:gd name="T1" fmla="*/ 502 h 721"/>
              <a:gd name="T2" fmla="*/ 441 w 721"/>
              <a:gd name="T3" fmla="*/ 487 h 721"/>
              <a:gd name="T4" fmla="*/ 456 w 721"/>
              <a:gd name="T5" fmla="*/ 469 h 721"/>
              <a:gd name="T6" fmla="*/ 477 w 721"/>
              <a:gd name="T7" fmla="*/ 475 h 721"/>
              <a:gd name="T8" fmla="*/ 498 w 721"/>
              <a:gd name="T9" fmla="*/ 505 h 721"/>
              <a:gd name="T10" fmla="*/ 361 w 721"/>
              <a:gd name="T11" fmla="*/ 709 h 721"/>
              <a:gd name="T12" fmla="*/ 315 w 721"/>
              <a:gd name="T13" fmla="*/ 654 h 721"/>
              <a:gd name="T14" fmla="*/ 347 w 721"/>
              <a:gd name="T15" fmla="*/ 606 h 721"/>
              <a:gd name="T16" fmla="*/ 365 w 721"/>
              <a:gd name="T17" fmla="*/ 601 h 721"/>
              <a:gd name="T18" fmla="*/ 387 w 721"/>
              <a:gd name="T19" fmla="*/ 623 h 721"/>
              <a:gd name="T20" fmla="*/ 415 w 721"/>
              <a:gd name="T21" fmla="*/ 691 h 721"/>
              <a:gd name="T22" fmla="*/ 225 w 721"/>
              <a:gd name="T23" fmla="*/ 505 h 721"/>
              <a:gd name="T24" fmla="*/ 245 w 721"/>
              <a:gd name="T25" fmla="*/ 477 h 721"/>
              <a:gd name="T26" fmla="*/ 265 w 721"/>
              <a:gd name="T27" fmla="*/ 469 h 721"/>
              <a:gd name="T28" fmla="*/ 280 w 721"/>
              <a:gd name="T29" fmla="*/ 487 h 721"/>
              <a:gd name="T30" fmla="*/ 321 w 721"/>
              <a:gd name="T31" fmla="*/ 502 h 721"/>
              <a:gd name="T32" fmla="*/ 222 w 721"/>
              <a:gd name="T33" fmla="*/ 511 h 721"/>
              <a:gd name="T34" fmla="*/ 397 w 721"/>
              <a:gd name="T35" fmla="*/ 541 h 721"/>
              <a:gd name="T36" fmla="*/ 385 w 721"/>
              <a:gd name="T37" fmla="*/ 565 h 721"/>
              <a:gd name="T38" fmla="*/ 361 w 721"/>
              <a:gd name="T39" fmla="*/ 577 h 721"/>
              <a:gd name="T40" fmla="*/ 335 w 721"/>
              <a:gd name="T41" fmla="*/ 565 h 721"/>
              <a:gd name="T42" fmla="*/ 325 w 721"/>
              <a:gd name="T43" fmla="*/ 541 h 721"/>
              <a:gd name="T44" fmla="*/ 681 w 721"/>
              <a:gd name="T45" fmla="*/ 552 h 721"/>
              <a:gd name="T46" fmla="*/ 633 w 721"/>
              <a:gd name="T47" fmla="*/ 522 h 721"/>
              <a:gd name="T48" fmla="*/ 524 w 721"/>
              <a:gd name="T49" fmla="*/ 477 h 721"/>
              <a:gd name="T50" fmla="*/ 484 w 721"/>
              <a:gd name="T51" fmla="*/ 448 h 721"/>
              <a:gd name="T52" fmla="*/ 457 w 721"/>
              <a:gd name="T53" fmla="*/ 433 h 721"/>
              <a:gd name="T54" fmla="*/ 466 w 721"/>
              <a:gd name="T55" fmla="*/ 366 h 721"/>
              <a:gd name="T56" fmla="*/ 489 w 721"/>
              <a:gd name="T57" fmla="*/ 322 h 721"/>
              <a:gd name="T58" fmla="*/ 504 w 721"/>
              <a:gd name="T59" fmla="*/ 279 h 721"/>
              <a:gd name="T60" fmla="*/ 513 w 721"/>
              <a:gd name="T61" fmla="*/ 247 h 721"/>
              <a:gd name="T62" fmla="*/ 506 w 721"/>
              <a:gd name="T63" fmla="*/ 215 h 721"/>
              <a:gd name="T64" fmla="*/ 501 w 721"/>
              <a:gd name="T65" fmla="*/ 193 h 721"/>
              <a:gd name="T66" fmla="*/ 527 w 721"/>
              <a:gd name="T67" fmla="*/ 102 h 721"/>
              <a:gd name="T68" fmla="*/ 519 w 721"/>
              <a:gd name="T69" fmla="*/ 51 h 721"/>
              <a:gd name="T70" fmla="*/ 493 w 721"/>
              <a:gd name="T71" fmla="*/ 26 h 721"/>
              <a:gd name="T72" fmla="*/ 453 w 721"/>
              <a:gd name="T73" fmla="*/ 9 h 721"/>
              <a:gd name="T74" fmla="*/ 383 w 721"/>
              <a:gd name="T75" fmla="*/ 0 h 721"/>
              <a:gd name="T76" fmla="*/ 311 w 721"/>
              <a:gd name="T77" fmla="*/ 9 h 721"/>
              <a:gd name="T78" fmla="*/ 271 w 721"/>
              <a:gd name="T79" fmla="*/ 32 h 721"/>
              <a:gd name="T80" fmla="*/ 239 w 721"/>
              <a:gd name="T81" fmla="*/ 50 h 721"/>
              <a:gd name="T82" fmla="*/ 222 w 721"/>
              <a:gd name="T83" fmla="*/ 66 h 721"/>
              <a:gd name="T84" fmla="*/ 211 w 721"/>
              <a:gd name="T85" fmla="*/ 95 h 721"/>
              <a:gd name="T86" fmla="*/ 217 w 721"/>
              <a:gd name="T87" fmla="*/ 164 h 721"/>
              <a:gd name="T88" fmla="*/ 227 w 721"/>
              <a:gd name="T89" fmla="*/ 202 h 721"/>
              <a:gd name="T90" fmla="*/ 212 w 721"/>
              <a:gd name="T91" fmla="*/ 230 h 721"/>
              <a:gd name="T92" fmla="*/ 213 w 721"/>
              <a:gd name="T93" fmla="*/ 263 h 721"/>
              <a:gd name="T94" fmla="*/ 229 w 721"/>
              <a:gd name="T95" fmla="*/ 290 h 721"/>
              <a:gd name="T96" fmla="*/ 243 w 721"/>
              <a:gd name="T97" fmla="*/ 348 h 721"/>
              <a:gd name="T98" fmla="*/ 265 w 721"/>
              <a:gd name="T99" fmla="*/ 378 h 721"/>
              <a:gd name="T100" fmla="*/ 249 w 721"/>
              <a:gd name="T101" fmla="*/ 441 h 721"/>
              <a:gd name="T102" fmla="*/ 209 w 721"/>
              <a:gd name="T103" fmla="*/ 473 h 721"/>
              <a:gd name="T104" fmla="*/ 134 w 721"/>
              <a:gd name="T105" fmla="*/ 502 h 721"/>
              <a:gd name="T106" fmla="*/ 50 w 721"/>
              <a:gd name="T107" fmla="*/ 547 h 721"/>
              <a:gd name="T108" fmla="*/ 28 w 721"/>
              <a:gd name="T109" fmla="*/ 573 h 721"/>
              <a:gd name="T110" fmla="*/ 9 w 721"/>
              <a:gd name="T111" fmla="*/ 629 h 721"/>
              <a:gd name="T112" fmla="*/ 0 w 721"/>
              <a:gd name="T113" fmla="*/ 713 h 721"/>
              <a:gd name="T114" fmla="*/ 709 w 721"/>
              <a:gd name="T115" fmla="*/ 721 h 721"/>
              <a:gd name="T116" fmla="*/ 721 w 721"/>
              <a:gd name="T117" fmla="*/ 709 h 721"/>
              <a:gd name="T118" fmla="*/ 709 w 721"/>
              <a:gd name="T119" fmla="*/ 606 h 721"/>
              <a:gd name="T120" fmla="*/ 691 w 721"/>
              <a:gd name="T121" fmla="*/ 564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1" h="721">
                <a:moveTo>
                  <a:pt x="415" y="510"/>
                </a:moveTo>
                <a:lnTo>
                  <a:pt x="415" y="510"/>
                </a:lnTo>
                <a:lnTo>
                  <a:pt x="415" y="510"/>
                </a:lnTo>
                <a:lnTo>
                  <a:pt x="400" y="502"/>
                </a:lnTo>
                <a:lnTo>
                  <a:pt x="414" y="498"/>
                </a:lnTo>
                <a:lnTo>
                  <a:pt x="428" y="493"/>
                </a:lnTo>
                <a:lnTo>
                  <a:pt x="434" y="491"/>
                </a:lnTo>
                <a:lnTo>
                  <a:pt x="441" y="487"/>
                </a:lnTo>
                <a:lnTo>
                  <a:pt x="447" y="482"/>
                </a:lnTo>
                <a:lnTo>
                  <a:pt x="453" y="477"/>
                </a:lnTo>
                <a:lnTo>
                  <a:pt x="456" y="473"/>
                </a:lnTo>
                <a:lnTo>
                  <a:pt x="456" y="469"/>
                </a:lnTo>
                <a:lnTo>
                  <a:pt x="456" y="459"/>
                </a:lnTo>
                <a:lnTo>
                  <a:pt x="464" y="462"/>
                </a:lnTo>
                <a:lnTo>
                  <a:pt x="470" y="469"/>
                </a:lnTo>
                <a:lnTo>
                  <a:pt x="477" y="475"/>
                </a:lnTo>
                <a:lnTo>
                  <a:pt x="483" y="482"/>
                </a:lnTo>
                <a:lnTo>
                  <a:pt x="489" y="489"/>
                </a:lnTo>
                <a:lnTo>
                  <a:pt x="495" y="497"/>
                </a:lnTo>
                <a:lnTo>
                  <a:pt x="498" y="505"/>
                </a:lnTo>
                <a:lnTo>
                  <a:pt x="501" y="511"/>
                </a:lnTo>
                <a:lnTo>
                  <a:pt x="522" y="574"/>
                </a:lnTo>
                <a:lnTo>
                  <a:pt x="415" y="510"/>
                </a:lnTo>
                <a:close/>
                <a:moveTo>
                  <a:pt x="361" y="709"/>
                </a:moveTo>
                <a:lnTo>
                  <a:pt x="293" y="709"/>
                </a:lnTo>
                <a:lnTo>
                  <a:pt x="299" y="691"/>
                </a:lnTo>
                <a:lnTo>
                  <a:pt x="306" y="672"/>
                </a:lnTo>
                <a:lnTo>
                  <a:pt x="315" y="654"/>
                </a:lnTo>
                <a:lnTo>
                  <a:pt x="322" y="637"/>
                </a:lnTo>
                <a:lnTo>
                  <a:pt x="333" y="623"/>
                </a:lnTo>
                <a:lnTo>
                  <a:pt x="342" y="611"/>
                </a:lnTo>
                <a:lnTo>
                  <a:pt x="347" y="606"/>
                </a:lnTo>
                <a:lnTo>
                  <a:pt x="351" y="604"/>
                </a:lnTo>
                <a:lnTo>
                  <a:pt x="356" y="601"/>
                </a:lnTo>
                <a:lnTo>
                  <a:pt x="361" y="601"/>
                </a:lnTo>
                <a:lnTo>
                  <a:pt x="365" y="601"/>
                </a:lnTo>
                <a:lnTo>
                  <a:pt x="370" y="604"/>
                </a:lnTo>
                <a:lnTo>
                  <a:pt x="374" y="606"/>
                </a:lnTo>
                <a:lnTo>
                  <a:pt x="379" y="611"/>
                </a:lnTo>
                <a:lnTo>
                  <a:pt x="387" y="623"/>
                </a:lnTo>
                <a:lnTo>
                  <a:pt x="396" y="637"/>
                </a:lnTo>
                <a:lnTo>
                  <a:pt x="403" y="654"/>
                </a:lnTo>
                <a:lnTo>
                  <a:pt x="410" y="673"/>
                </a:lnTo>
                <a:lnTo>
                  <a:pt x="415" y="691"/>
                </a:lnTo>
                <a:lnTo>
                  <a:pt x="420" y="709"/>
                </a:lnTo>
                <a:lnTo>
                  <a:pt x="361" y="709"/>
                </a:lnTo>
                <a:close/>
                <a:moveTo>
                  <a:pt x="222" y="511"/>
                </a:moveTo>
                <a:lnTo>
                  <a:pt x="225" y="505"/>
                </a:lnTo>
                <a:lnTo>
                  <a:pt x="229" y="497"/>
                </a:lnTo>
                <a:lnTo>
                  <a:pt x="234" y="489"/>
                </a:lnTo>
                <a:lnTo>
                  <a:pt x="239" y="483"/>
                </a:lnTo>
                <a:lnTo>
                  <a:pt x="245" y="477"/>
                </a:lnTo>
                <a:lnTo>
                  <a:pt x="252" y="470"/>
                </a:lnTo>
                <a:lnTo>
                  <a:pt x="258" y="464"/>
                </a:lnTo>
                <a:lnTo>
                  <a:pt x="265" y="460"/>
                </a:lnTo>
                <a:lnTo>
                  <a:pt x="265" y="469"/>
                </a:lnTo>
                <a:lnTo>
                  <a:pt x="265" y="473"/>
                </a:lnTo>
                <a:lnTo>
                  <a:pt x="267" y="477"/>
                </a:lnTo>
                <a:lnTo>
                  <a:pt x="274" y="482"/>
                </a:lnTo>
                <a:lnTo>
                  <a:pt x="280" y="487"/>
                </a:lnTo>
                <a:lnTo>
                  <a:pt x="286" y="491"/>
                </a:lnTo>
                <a:lnTo>
                  <a:pt x="293" y="493"/>
                </a:lnTo>
                <a:lnTo>
                  <a:pt x="307" y="498"/>
                </a:lnTo>
                <a:lnTo>
                  <a:pt x="321" y="502"/>
                </a:lnTo>
                <a:lnTo>
                  <a:pt x="306" y="511"/>
                </a:lnTo>
                <a:lnTo>
                  <a:pt x="306" y="511"/>
                </a:lnTo>
                <a:lnTo>
                  <a:pt x="202" y="574"/>
                </a:lnTo>
                <a:lnTo>
                  <a:pt x="222" y="511"/>
                </a:lnTo>
                <a:close/>
                <a:moveTo>
                  <a:pt x="325" y="528"/>
                </a:moveTo>
                <a:lnTo>
                  <a:pt x="361" y="506"/>
                </a:lnTo>
                <a:lnTo>
                  <a:pt x="397" y="528"/>
                </a:lnTo>
                <a:lnTo>
                  <a:pt x="397" y="541"/>
                </a:lnTo>
                <a:lnTo>
                  <a:pt x="396" y="547"/>
                </a:lnTo>
                <a:lnTo>
                  <a:pt x="393" y="554"/>
                </a:lnTo>
                <a:lnTo>
                  <a:pt x="391" y="560"/>
                </a:lnTo>
                <a:lnTo>
                  <a:pt x="385" y="565"/>
                </a:lnTo>
                <a:lnTo>
                  <a:pt x="380" y="570"/>
                </a:lnTo>
                <a:lnTo>
                  <a:pt x="374" y="573"/>
                </a:lnTo>
                <a:lnTo>
                  <a:pt x="367" y="575"/>
                </a:lnTo>
                <a:lnTo>
                  <a:pt x="361" y="577"/>
                </a:lnTo>
                <a:lnTo>
                  <a:pt x="353" y="575"/>
                </a:lnTo>
                <a:lnTo>
                  <a:pt x="347" y="573"/>
                </a:lnTo>
                <a:lnTo>
                  <a:pt x="340" y="570"/>
                </a:lnTo>
                <a:lnTo>
                  <a:pt x="335" y="565"/>
                </a:lnTo>
                <a:lnTo>
                  <a:pt x="331" y="560"/>
                </a:lnTo>
                <a:lnTo>
                  <a:pt x="328" y="554"/>
                </a:lnTo>
                <a:lnTo>
                  <a:pt x="325" y="547"/>
                </a:lnTo>
                <a:lnTo>
                  <a:pt x="325" y="541"/>
                </a:lnTo>
                <a:lnTo>
                  <a:pt x="325" y="528"/>
                </a:lnTo>
                <a:close/>
                <a:moveTo>
                  <a:pt x="691" y="564"/>
                </a:moveTo>
                <a:lnTo>
                  <a:pt x="686" y="557"/>
                </a:lnTo>
                <a:lnTo>
                  <a:pt x="681" y="552"/>
                </a:lnTo>
                <a:lnTo>
                  <a:pt x="674" y="547"/>
                </a:lnTo>
                <a:lnTo>
                  <a:pt x="668" y="541"/>
                </a:lnTo>
                <a:lnTo>
                  <a:pt x="651" y="531"/>
                </a:lnTo>
                <a:lnTo>
                  <a:pt x="633" y="522"/>
                </a:lnTo>
                <a:lnTo>
                  <a:pt x="591" y="502"/>
                </a:lnTo>
                <a:lnTo>
                  <a:pt x="545" y="484"/>
                </a:lnTo>
                <a:lnTo>
                  <a:pt x="534" y="480"/>
                </a:lnTo>
                <a:lnTo>
                  <a:pt x="524" y="477"/>
                </a:lnTo>
                <a:lnTo>
                  <a:pt x="514" y="473"/>
                </a:lnTo>
                <a:lnTo>
                  <a:pt x="504" y="469"/>
                </a:lnTo>
                <a:lnTo>
                  <a:pt x="495" y="457"/>
                </a:lnTo>
                <a:lnTo>
                  <a:pt x="484" y="448"/>
                </a:lnTo>
                <a:lnTo>
                  <a:pt x="473" y="441"/>
                </a:lnTo>
                <a:lnTo>
                  <a:pt x="462" y="434"/>
                </a:lnTo>
                <a:lnTo>
                  <a:pt x="460" y="433"/>
                </a:lnTo>
                <a:lnTo>
                  <a:pt x="457" y="433"/>
                </a:lnTo>
                <a:lnTo>
                  <a:pt x="456" y="433"/>
                </a:lnTo>
                <a:lnTo>
                  <a:pt x="456" y="378"/>
                </a:lnTo>
                <a:lnTo>
                  <a:pt x="461" y="373"/>
                </a:lnTo>
                <a:lnTo>
                  <a:pt x="466" y="366"/>
                </a:lnTo>
                <a:lnTo>
                  <a:pt x="473" y="358"/>
                </a:lnTo>
                <a:lnTo>
                  <a:pt x="479" y="348"/>
                </a:lnTo>
                <a:lnTo>
                  <a:pt x="484" y="337"/>
                </a:lnTo>
                <a:lnTo>
                  <a:pt x="489" y="322"/>
                </a:lnTo>
                <a:lnTo>
                  <a:pt x="492" y="308"/>
                </a:lnTo>
                <a:lnTo>
                  <a:pt x="495" y="290"/>
                </a:lnTo>
                <a:lnTo>
                  <a:pt x="500" y="285"/>
                </a:lnTo>
                <a:lnTo>
                  <a:pt x="504" y="279"/>
                </a:lnTo>
                <a:lnTo>
                  <a:pt x="507" y="271"/>
                </a:lnTo>
                <a:lnTo>
                  <a:pt x="510" y="262"/>
                </a:lnTo>
                <a:lnTo>
                  <a:pt x="511" y="254"/>
                </a:lnTo>
                <a:lnTo>
                  <a:pt x="513" y="247"/>
                </a:lnTo>
                <a:lnTo>
                  <a:pt x="513" y="238"/>
                </a:lnTo>
                <a:lnTo>
                  <a:pt x="511" y="230"/>
                </a:lnTo>
                <a:lnTo>
                  <a:pt x="510" y="222"/>
                </a:lnTo>
                <a:lnTo>
                  <a:pt x="506" y="215"/>
                </a:lnTo>
                <a:lnTo>
                  <a:pt x="502" y="208"/>
                </a:lnTo>
                <a:lnTo>
                  <a:pt x="497" y="202"/>
                </a:lnTo>
                <a:lnTo>
                  <a:pt x="498" y="198"/>
                </a:lnTo>
                <a:lnTo>
                  <a:pt x="501" y="193"/>
                </a:lnTo>
                <a:lnTo>
                  <a:pt x="510" y="167"/>
                </a:lnTo>
                <a:lnTo>
                  <a:pt x="520" y="135"/>
                </a:lnTo>
                <a:lnTo>
                  <a:pt x="524" y="118"/>
                </a:lnTo>
                <a:lnTo>
                  <a:pt x="527" y="102"/>
                </a:lnTo>
                <a:lnTo>
                  <a:pt x="527" y="85"/>
                </a:lnTo>
                <a:lnTo>
                  <a:pt x="525" y="68"/>
                </a:lnTo>
                <a:lnTo>
                  <a:pt x="523" y="59"/>
                </a:lnTo>
                <a:lnTo>
                  <a:pt x="519" y="51"/>
                </a:lnTo>
                <a:lnTo>
                  <a:pt x="514" y="44"/>
                </a:lnTo>
                <a:lnTo>
                  <a:pt x="509" y="37"/>
                </a:lnTo>
                <a:lnTo>
                  <a:pt x="501" y="31"/>
                </a:lnTo>
                <a:lnTo>
                  <a:pt x="493" y="26"/>
                </a:lnTo>
                <a:lnTo>
                  <a:pt x="484" y="21"/>
                </a:lnTo>
                <a:lnTo>
                  <a:pt x="475" y="16"/>
                </a:lnTo>
                <a:lnTo>
                  <a:pt x="465" y="12"/>
                </a:lnTo>
                <a:lnTo>
                  <a:pt x="453" y="9"/>
                </a:lnTo>
                <a:lnTo>
                  <a:pt x="442" y="7"/>
                </a:lnTo>
                <a:lnTo>
                  <a:pt x="430" y="4"/>
                </a:lnTo>
                <a:lnTo>
                  <a:pt x="407" y="0"/>
                </a:lnTo>
                <a:lnTo>
                  <a:pt x="383" y="0"/>
                </a:lnTo>
                <a:lnTo>
                  <a:pt x="365" y="0"/>
                </a:lnTo>
                <a:lnTo>
                  <a:pt x="347" y="1"/>
                </a:lnTo>
                <a:lnTo>
                  <a:pt x="329" y="5"/>
                </a:lnTo>
                <a:lnTo>
                  <a:pt x="311" y="9"/>
                </a:lnTo>
                <a:lnTo>
                  <a:pt x="295" y="16"/>
                </a:lnTo>
                <a:lnTo>
                  <a:pt x="281" y="23"/>
                </a:lnTo>
                <a:lnTo>
                  <a:pt x="276" y="27"/>
                </a:lnTo>
                <a:lnTo>
                  <a:pt x="271" y="32"/>
                </a:lnTo>
                <a:lnTo>
                  <a:pt x="266" y="37"/>
                </a:lnTo>
                <a:lnTo>
                  <a:pt x="263" y="44"/>
                </a:lnTo>
                <a:lnTo>
                  <a:pt x="251" y="46"/>
                </a:lnTo>
                <a:lnTo>
                  <a:pt x="239" y="50"/>
                </a:lnTo>
                <a:lnTo>
                  <a:pt x="234" y="53"/>
                </a:lnTo>
                <a:lnTo>
                  <a:pt x="230" y="57"/>
                </a:lnTo>
                <a:lnTo>
                  <a:pt x="225" y="60"/>
                </a:lnTo>
                <a:lnTo>
                  <a:pt x="222" y="66"/>
                </a:lnTo>
                <a:lnTo>
                  <a:pt x="217" y="72"/>
                </a:lnTo>
                <a:lnTo>
                  <a:pt x="215" y="78"/>
                </a:lnTo>
                <a:lnTo>
                  <a:pt x="212" y="87"/>
                </a:lnTo>
                <a:lnTo>
                  <a:pt x="211" y="95"/>
                </a:lnTo>
                <a:lnTo>
                  <a:pt x="209" y="112"/>
                </a:lnTo>
                <a:lnTo>
                  <a:pt x="211" y="130"/>
                </a:lnTo>
                <a:lnTo>
                  <a:pt x="213" y="148"/>
                </a:lnTo>
                <a:lnTo>
                  <a:pt x="217" y="164"/>
                </a:lnTo>
                <a:lnTo>
                  <a:pt x="221" y="181"/>
                </a:lnTo>
                <a:lnTo>
                  <a:pt x="225" y="194"/>
                </a:lnTo>
                <a:lnTo>
                  <a:pt x="226" y="198"/>
                </a:lnTo>
                <a:lnTo>
                  <a:pt x="227" y="202"/>
                </a:lnTo>
                <a:lnTo>
                  <a:pt x="222" y="207"/>
                </a:lnTo>
                <a:lnTo>
                  <a:pt x="217" y="215"/>
                </a:lnTo>
                <a:lnTo>
                  <a:pt x="215" y="221"/>
                </a:lnTo>
                <a:lnTo>
                  <a:pt x="212" y="230"/>
                </a:lnTo>
                <a:lnTo>
                  <a:pt x="211" y="238"/>
                </a:lnTo>
                <a:lnTo>
                  <a:pt x="211" y="247"/>
                </a:lnTo>
                <a:lnTo>
                  <a:pt x="212" y="254"/>
                </a:lnTo>
                <a:lnTo>
                  <a:pt x="213" y="263"/>
                </a:lnTo>
                <a:lnTo>
                  <a:pt x="216" y="272"/>
                </a:lnTo>
                <a:lnTo>
                  <a:pt x="220" y="280"/>
                </a:lnTo>
                <a:lnTo>
                  <a:pt x="224" y="285"/>
                </a:lnTo>
                <a:lnTo>
                  <a:pt x="229" y="290"/>
                </a:lnTo>
                <a:lnTo>
                  <a:pt x="230" y="307"/>
                </a:lnTo>
                <a:lnTo>
                  <a:pt x="234" y="322"/>
                </a:lnTo>
                <a:lnTo>
                  <a:pt x="238" y="337"/>
                </a:lnTo>
                <a:lnTo>
                  <a:pt x="243" y="348"/>
                </a:lnTo>
                <a:lnTo>
                  <a:pt x="249" y="358"/>
                </a:lnTo>
                <a:lnTo>
                  <a:pt x="254" y="366"/>
                </a:lnTo>
                <a:lnTo>
                  <a:pt x="260" y="373"/>
                </a:lnTo>
                <a:lnTo>
                  <a:pt x="265" y="378"/>
                </a:lnTo>
                <a:lnTo>
                  <a:pt x="265" y="433"/>
                </a:lnTo>
                <a:lnTo>
                  <a:pt x="262" y="433"/>
                </a:lnTo>
                <a:lnTo>
                  <a:pt x="261" y="434"/>
                </a:lnTo>
                <a:lnTo>
                  <a:pt x="249" y="441"/>
                </a:lnTo>
                <a:lnTo>
                  <a:pt x="239" y="448"/>
                </a:lnTo>
                <a:lnTo>
                  <a:pt x="229" y="457"/>
                </a:lnTo>
                <a:lnTo>
                  <a:pt x="220" y="469"/>
                </a:lnTo>
                <a:lnTo>
                  <a:pt x="209" y="473"/>
                </a:lnTo>
                <a:lnTo>
                  <a:pt x="200" y="477"/>
                </a:lnTo>
                <a:lnTo>
                  <a:pt x="190" y="480"/>
                </a:lnTo>
                <a:lnTo>
                  <a:pt x="181" y="484"/>
                </a:lnTo>
                <a:lnTo>
                  <a:pt x="134" y="502"/>
                </a:lnTo>
                <a:lnTo>
                  <a:pt x="91" y="522"/>
                </a:lnTo>
                <a:lnTo>
                  <a:pt x="73" y="531"/>
                </a:lnTo>
                <a:lnTo>
                  <a:pt x="57" y="541"/>
                </a:lnTo>
                <a:lnTo>
                  <a:pt x="50" y="547"/>
                </a:lnTo>
                <a:lnTo>
                  <a:pt x="44" y="552"/>
                </a:lnTo>
                <a:lnTo>
                  <a:pt x="39" y="557"/>
                </a:lnTo>
                <a:lnTo>
                  <a:pt x="34" y="564"/>
                </a:lnTo>
                <a:lnTo>
                  <a:pt x="28" y="573"/>
                </a:lnTo>
                <a:lnTo>
                  <a:pt x="23" y="583"/>
                </a:lnTo>
                <a:lnTo>
                  <a:pt x="19" y="595"/>
                </a:lnTo>
                <a:lnTo>
                  <a:pt x="16" y="606"/>
                </a:lnTo>
                <a:lnTo>
                  <a:pt x="9" y="629"/>
                </a:lnTo>
                <a:lnTo>
                  <a:pt x="5" y="653"/>
                </a:lnTo>
                <a:lnTo>
                  <a:pt x="1" y="691"/>
                </a:lnTo>
                <a:lnTo>
                  <a:pt x="0" y="709"/>
                </a:lnTo>
                <a:lnTo>
                  <a:pt x="0" y="713"/>
                </a:lnTo>
                <a:lnTo>
                  <a:pt x="4" y="717"/>
                </a:lnTo>
                <a:lnTo>
                  <a:pt x="8" y="719"/>
                </a:lnTo>
                <a:lnTo>
                  <a:pt x="12" y="721"/>
                </a:lnTo>
                <a:lnTo>
                  <a:pt x="709" y="721"/>
                </a:lnTo>
                <a:lnTo>
                  <a:pt x="714" y="719"/>
                </a:lnTo>
                <a:lnTo>
                  <a:pt x="718" y="717"/>
                </a:lnTo>
                <a:lnTo>
                  <a:pt x="721" y="713"/>
                </a:lnTo>
                <a:lnTo>
                  <a:pt x="721" y="709"/>
                </a:lnTo>
                <a:lnTo>
                  <a:pt x="721" y="691"/>
                </a:lnTo>
                <a:lnTo>
                  <a:pt x="718" y="653"/>
                </a:lnTo>
                <a:lnTo>
                  <a:pt x="714" y="629"/>
                </a:lnTo>
                <a:lnTo>
                  <a:pt x="709" y="606"/>
                </a:lnTo>
                <a:lnTo>
                  <a:pt x="705" y="595"/>
                </a:lnTo>
                <a:lnTo>
                  <a:pt x="701" y="583"/>
                </a:lnTo>
                <a:lnTo>
                  <a:pt x="696" y="573"/>
                </a:lnTo>
                <a:lnTo>
                  <a:pt x="691" y="5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6" name="Group 175"/>
          <p:cNvGrpSpPr/>
          <p:nvPr/>
        </p:nvGrpSpPr>
        <p:grpSpPr>
          <a:xfrm>
            <a:off x="8011470" y="1680775"/>
            <a:ext cx="185040" cy="191422"/>
            <a:chOff x="9882188" y="1336675"/>
            <a:chExt cx="276225" cy="285750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77" name="Freeform 3049"/>
            <p:cNvSpPr>
              <a:spLocks/>
            </p:cNvSpPr>
            <p:nvPr/>
          </p:nvSpPr>
          <p:spPr bwMode="auto">
            <a:xfrm>
              <a:off x="9893300" y="1574800"/>
              <a:ext cx="254000" cy="47625"/>
            </a:xfrm>
            <a:custGeom>
              <a:avLst/>
              <a:gdLst>
                <a:gd name="T0" fmla="*/ 584 w 641"/>
                <a:gd name="T1" fmla="*/ 0 h 120"/>
                <a:gd name="T2" fmla="*/ 57 w 641"/>
                <a:gd name="T3" fmla="*/ 0 h 120"/>
                <a:gd name="T4" fmla="*/ 51 w 641"/>
                <a:gd name="T5" fmla="*/ 0 h 120"/>
                <a:gd name="T6" fmla="*/ 45 w 641"/>
                <a:gd name="T7" fmla="*/ 1 h 120"/>
                <a:gd name="T8" fmla="*/ 39 w 641"/>
                <a:gd name="T9" fmla="*/ 3 h 120"/>
                <a:gd name="T10" fmla="*/ 33 w 641"/>
                <a:gd name="T11" fmla="*/ 5 h 120"/>
                <a:gd name="T12" fmla="*/ 27 w 641"/>
                <a:gd name="T13" fmla="*/ 7 h 120"/>
                <a:gd name="T14" fmla="*/ 22 w 641"/>
                <a:gd name="T15" fmla="*/ 11 h 120"/>
                <a:gd name="T16" fmla="*/ 18 w 641"/>
                <a:gd name="T17" fmla="*/ 14 h 120"/>
                <a:gd name="T18" fmla="*/ 14 w 641"/>
                <a:gd name="T19" fmla="*/ 19 h 120"/>
                <a:gd name="T20" fmla="*/ 9 w 641"/>
                <a:gd name="T21" fmla="*/ 26 h 120"/>
                <a:gd name="T22" fmla="*/ 6 w 641"/>
                <a:gd name="T23" fmla="*/ 32 h 120"/>
                <a:gd name="T24" fmla="*/ 3 w 641"/>
                <a:gd name="T25" fmla="*/ 41 h 120"/>
                <a:gd name="T26" fmla="*/ 1 w 641"/>
                <a:gd name="T27" fmla="*/ 49 h 120"/>
                <a:gd name="T28" fmla="*/ 0 w 641"/>
                <a:gd name="T29" fmla="*/ 54 h 120"/>
                <a:gd name="T30" fmla="*/ 0 w 641"/>
                <a:gd name="T31" fmla="*/ 60 h 120"/>
                <a:gd name="T32" fmla="*/ 1 w 641"/>
                <a:gd name="T33" fmla="*/ 72 h 120"/>
                <a:gd name="T34" fmla="*/ 3 w 641"/>
                <a:gd name="T35" fmla="*/ 82 h 120"/>
                <a:gd name="T36" fmla="*/ 8 w 641"/>
                <a:gd name="T37" fmla="*/ 92 h 120"/>
                <a:gd name="T38" fmla="*/ 14 w 641"/>
                <a:gd name="T39" fmla="*/ 101 h 120"/>
                <a:gd name="T40" fmla="*/ 19 w 641"/>
                <a:gd name="T41" fmla="*/ 105 h 120"/>
                <a:gd name="T42" fmla="*/ 22 w 641"/>
                <a:gd name="T43" fmla="*/ 108 h 120"/>
                <a:gd name="T44" fmla="*/ 27 w 641"/>
                <a:gd name="T45" fmla="*/ 112 h 120"/>
                <a:gd name="T46" fmla="*/ 32 w 641"/>
                <a:gd name="T47" fmla="*/ 114 h 120"/>
                <a:gd name="T48" fmla="*/ 38 w 641"/>
                <a:gd name="T49" fmla="*/ 117 h 120"/>
                <a:gd name="T50" fmla="*/ 44 w 641"/>
                <a:gd name="T51" fmla="*/ 119 h 120"/>
                <a:gd name="T52" fmla="*/ 50 w 641"/>
                <a:gd name="T53" fmla="*/ 119 h 120"/>
                <a:gd name="T54" fmla="*/ 57 w 641"/>
                <a:gd name="T55" fmla="*/ 120 h 120"/>
                <a:gd name="T56" fmla="*/ 584 w 641"/>
                <a:gd name="T57" fmla="*/ 120 h 120"/>
                <a:gd name="T58" fmla="*/ 591 w 641"/>
                <a:gd name="T59" fmla="*/ 119 h 120"/>
                <a:gd name="T60" fmla="*/ 597 w 641"/>
                <a:gd name="T61" fmla="*/ 118 h 120"/>
                <a:gd name="T62" fmla="*/ 603 w 641"/>
                <a:gd name="T63" fmla="*/ 117 h 120"/>
                <a:gd name="T64" fmla="*/ 609 w 641"/>
                <a:gd name="T65" fmla="*/ 114 h 120"/>
                <a:gd name="T66" fmla="*/ 613 w 641"/>
                <a:gd name="T67" fmla="*/ 112 h 120"/>
                <a:gd name="T68" fmla="*/ 618 w 641"/>
                <a:gd name="T69" fmla="*/ 108 h 120"/>
                <a:gd name="T70" fmla="*/ 623 w 641"/>
                <a:gd name="T71" fmla="*/ 105 h 120"/>
                <a:gd name="T72" fmla="*/ 627 w 641"/>
                <a:gd name="T73" fmla="*/ 101 h 120"/>
                <a:gd name="T74" fmla="*/ 633 w 641"/>
                <a:gd name="T75" fmla="*/ 92 h 120"/>
                <a:gd name="T76" fmla="*/ 637 w 641"/>
                <a:gd name="T77" fmla="*/ 82 h 120"/>
                <a:gd name="T78" fmla="*/ 640 w 641"/>
                <a:gd name="T79" fmla="*/ 72 h 120"/>
                <a:gd name="T80" fmla="*/ 641 w 641"/>
                <a:gd name="T81" fmla="*/ 60 h 120"/>
                <a:gd name="T82" fmla="*/ 640 w 641"/>
                <a:gd name="T83" fmla="*/ 49 h 120"/>
                <a:gd name="T84" fmla="*/ 637 w 641"/>
                <a:gd name="T85" fmla="*/ 38 h 120"/>
                <a:gd name="T86" fmla="*/ 633 w 641"/>
                <a:gd name="T87" fmla="*/ 28 h 120"/>
                <a:gd name="T88" fmla="*/ 627 w 641"/>
                <a:gd name="T89" fmla="*/ 19 h 120"/>
                <a:gd name="T90" fmla="*/ 623 w 641"/>
                <a:gd name="T91" fmla="*/ 14 h 120"/>
                <a:gd name="T92" fmla="*/ 618 w 641"/>
                <a:gd name="T93" fmla="*/ 11 h 120"/>
                <a:gd name="T94" fmla="*/ 613 w 641"/>
                <a:gd name="T95" fmla="*/ 9 h 120"/>
                <a:gd name="T96" fmla="*/ 609 w 641"/>
                <a:gd name="T97" fmla="*/ 5 h 120"/>
                <a:gd name="T98" fmla="*/ 603 w 641"/>
                <a:gd name="T99" fmla="*/ 3 h 120"/>
                <a:gd name="T100" fmla="*/ 597 w 641"/>
                <a:gd name="T101" fmla="*/ 1 h 120"/>
                <a:gd name="T102" fmla="*/ 591 w 641"/>
                <a:gd name="T103" fmla="*/ 0 h 120"/>
                <a:gd name="T104" fmla="*/ 584 w 641"/>
                <a:gd name="T10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41" h="120">
                  <a:moveTo>
                    <a:pt x="584" y="0"/>
                  </a:moveTo>
                  <a:lnTo>
                    <a:pt x="57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39" y="3"/>
                  </a:lnTo>
                  <a:lnTo>
                    <a:pt x="33" y="5"/>
                  </a:lnTo>
                  <a:lnTo>
                    <a:pt x="27" y="7"/>
                  </a:lnTo>
                  <a:lnTo>
                    <a:pt x="22" y="11"/>
                  </a:lnTo>
                  <a:lnTo>
                    <a:pt x="18" y="14"/>
                  </a:lnTo>
                  <a:lnTo>
                    <a:pt x="14" y="19"/>
                  </a:lnTo>
                  <a:lnTo>
                    <a:pt x="9" y="26"/>
                  </a:lnTo>
                  <a:lnTo>
                    <a:pt x="6" y="32"/>
                  </a:lnTo>
                  <a:lnTo>
                    <a:pt x="3" y="41"/>
                  </a:lnTo>
                  <a:lnTo>
                    <a:pt x="1" y="49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1" y="72"/>
                  </a:lnTo>
                  <a:lnTo>
                    <a:pt x="3" y="82"/>
                  </a:lnTo>
                  <a:lnTo>
                    <a:pt x="8" y="92"/>
                  </a:lnTo>
                  <a:lnTo>
                    <a:pt x="14" y="101"/>
                  </a:lnTo>
                  <a:lnTo>
                    <a:pt x="19" y="105"/>
                  </a:lnTo>
                  <a:lnTo>
                    <a:pt x="22" y="108"/>
                  </a:lnTo>
                  <a:lnTo>
                    <a:pt x="27" y="112"/>
                  </a:lnTo>
                  <a:lnTo>
                    <a:pt x="32" y="114"/>
                  </a:lnTo>
                  <a:lnTo>
                    <a:pt x="38" y="117"/>
                  </a:lnTo>
                  <a:lnTo>
                    <a:pt x="44" y="119"/>
                  </a:lnTo>
                  <a:lnTo>
                    <a:pt x="50" y="119"/>
                  </a:lnTo>
                  <a:lnTo>
                    <a:pt x="57" y="120"/>
                  </a:lnTo>
                  <a:lnTo>
                    <a:pt x="584" y="120"/>
                  </a:lnTo>
                  <a:lnTo>
                    <a:pt x="591" y="119"/>
                  </a:lnTo>
                  <a:lnTo>
                    <a:pt x="597" y="118"/>
                  </a:lnTo>
                  <a:lnTo>
                    <a:pt x="603" y="117"/>
                  </a:lnTo>
                  <a:lnTo>
                    <a:pt x="609" y="114"/>
                  </a:lnTo>
                  <a:lnTo>
                    <a:pt x="613" y="112"/>
                  </a:lnTo>
                  <a:lnTo>
                    <a:pt x="618" y="108"/>
                  </a:lnTo>
                  <a:lnTo>
                    <a:pt x="623" y="105"/>
                  </a:lnTo>
                  <a:lnTo>
                    <a:pt x="627" y="101"/>
                  </a:lnTo>
                  <a:lnTo>
                    <a:pt x="633" y="92"/>
                  </a:lnTo>
                  <a:lnTo>
                    <a:pt x="637" y="82"/>
                  </a:lnTo>
                  <a:lnTo>
                    <a:pt x="640" y="72"/>
                  </a:lnTo>
                  <a:lnTo>
                    <a:pt x="641" y="60"/>
                  </a:lnTo>
                  <a:lnTo>
                    <a:pt x="640" y="49"/>
                  </a:lnTo>
                  <a:lnTo>
                    <a:pt x="637" y="38"/>
                  </a:lnTo>
                  <a:lnTo>
                    <a:pt x="633" y="28"/>
                  </a:lnTo>
                  <a:lnTo>
                    <a:pt x="627" y="19"/>
                  </a:lnTo>
                  <a:lnTo>
                    <a:pt x="623" y="14"/>
                  </a:lnTo>
                  <a:lnTo>
                    <a:pt x="618" y="11"/>
                  </a:lnTo>
                  <a:lnTo>
                    <a:pt x="613" y="9"/>
                  </a:lnTo>
                  <a:lnTo>
                    <a:pt x="609" y="5"/>
                  </a:lnTo>
                  <a:lnTo>
                    <a:pt x="603" y="3"/>
                  </a:lnTo>
                  <a:lnTo>
                    <a:pt x="597" y="1"/>
                  </a:lnTo>
                  <a:lnTo>
                    <a:pt x="591" y="0"/>
                  </a:lnTo>
                  <a:lnTo>
                    <a:pt x="5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050"/>
            <p:cNvSpPr>
              <a:spLocks/>
            </p:cNvSpPr>
            <p:nvPr/>
          </p:nvSpPr>
          <p:spPr bwMode="auto">
            <a:xfrm>
              <a:off x="9986963" y="1336675"/>
              <a:ext cx="66675" cy="28575"/>
            </a:xfrm>
            <a:custGeom>
              <a:avLst/>
              <a:gdLst>
                <a:gd name="T0" fmla="*/ 83 w 165"/>
                <a:gd name="T1" fmla="*/ 0 h 72"/>
                <a:gd name="T2" fmla="*/ 75 w 165"/>
                <a:gd name="T3" fmla="*/ 1 h 72"/>
                <a:gd name="T4" fmla="*/ 67 w 165"/>
                <a:gd name="T5" fmla="*/ 2 h 72"/>
                <a:gd name="T6" fmla="*/ 59 w 165"/>
                <a:gd name="T7" fmla="*/ 3 h 72"/>
                <a:gd name="T8" fmla="*/ 52 w 165"/>
                <a:gd name="T9" fmla="*/ 6 h 72"/>
                <a:gd name="T10" fmla="*/ 46 w 165"/>
                <a:gd name="T11" fmla="*/ 9 h 72"/>
                <a:gd name="T12" fmla="*/ 39 w 165"/>
                <a:gd name="T13" fmla="*/ 13 h 72"/>
                <a:gd name="T14" fmla="*/ 33 w 165"/>
                <a:gd name="T15" fmla="*/ 16 h 72"/>
                <a:gd name="T16" fmla="*/ 27 w 165"/>
                <a:gd name="T17" fmla="*/ 21 h 72"/>
                <a:gd name="T18" fmla="*/ 22 w 165"/>
                <a:gd name="T19" fmla="*/ 26 h 72"/>
                <a:gd name="T20" fmla="*/ 17 w 165"/>
                <a:gd name="T21" fmla="*/ 32 h 72"/>
                <a:gd name="T22" fmla="*/ 13 w 165"/>
                <a:gd name="T23" fmla="*/ 38 h 72"/>
                <a:gd name="T24" fmla="*/ 9 w 165"/>
                <a:gd name="T25" fmla="*/ 44 h 72"/>
                <a:gd name="T26" fmla="*/ 6 w 165"/>
                <a:gd name="T27" fmla="*/ 51 h 72"/>
                <a:gd name="T28" fmla="*/ 3 w 165"/>
                <a:gd name="T29" fmla="*/ 58 h 72"/>
                <a:gd name="T30" fmla="*/ 1 w 165"/>
                <a:gd name="T31" fmla="*/ 65 h 72"/>
                <a:gd name="T32" fmla="*/ 0 w 165"/>
                <a:gd name="T33" fmla="*/ 72 h 72"/>
                <a:gd name="T34" fmla="*/ 165 w 165"/>
                <a:gd name="T35" fmla="*/ 72 h 72"/>
                <a:gd name="T36" fmla="*/ 164 w 165"/>
                <a:gd name="T37" fmla="*/ 65 h 72"/>
                <a:gd name="T38" fmla="*/ 161 w 165"/>
                <a:gd name="T39" fmla="*/ 57 h 72"/>
                <a:gd name="T40" fmla="*/ 159 w 165"/>
                <a:gd name="T41" fmla="*/ 51 h 72"/>
                <a:gd name="T42" fmla="*/ 155 w 165"/>
                <a:gd name="T43" fmla="*/ 44 h 72"/>
                <a:gd name="T44" fmla="*/ 152 w 165"/>
                <a:gd name="T45" fmla="*/ 38 h 72"/>
                <a:gd name="T46" fmla="*/ 147 w 165"/>
                <a:gd name="T47" fmla="*/ 32 h 72"/>
                <a:gd name="T48" fmla="*/ 142 w 165"/>
                <a:gd name="T49" fmla="*/ 26 h 72"/>
                <a:gd name="T50" fmla="*/ 138 w 165"/>
                <a:gd name="T51" fmla="*/ 21 h 72"/>
                <a:gd name="T52" fmla="*/ 132 w 165"/>
                <a:gd name="T53" fmla="*/ 16 h 72"/>
                <a:gd name="T54" fmla="*/ 126 w 165"/>
                <a:gd name="T55" fmla="*/ 13 h 72"/>
                <a:gd name="T56" fmla="*/ 119 w 165"/>
                <a:gd name="T57" fmla="*/ 9 h 72"/>
                <a:gd name="T58" fmla="*/ 113 w 165"/>
                <a:gd name="T59" fmla="*/ 6 h 72"/>
                <a:gd name="T60" fmla="*/ 105 w 165"/>
                <a:gd name="T61" fmla="*/ 3 h 72"/>
                <a:gd name="T62" fmla="*/ 98 w 165"/>
                <a:gd name="T63" fmla="*/ 2 h 72"/>
                <a:gd name="T64" fmla="*/ 90 w 165"/>
                <a:gd name="T65" fmla="*/ 1 h 72"/>
                <a:gd name="T66" fmla="*/ 83 w 165"/>
                <a:gd name="T67" fmla="*/ 0 h 72"/>
                <a:gd name="T68" fmla="*/ 83 w 165"/>
                <a:gd name="T6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5" h="72">
                  <a:moveTo>
                    <a:pt x="83" y="0"/>
                  </a:moveTo>
                  <a:lnTo>
                    <a:pt x="75" y="1"/>
                  </a:lnTo>
                  <a:lnTo>
                    <a:pt x="67" y="2"/>
                  </a:lnTo>
                  <a:lnTo>
                    <a:pt x="59" y="3"/>
                  </a:lnTo>
                  <a:lnTo>
                    <a:pt x="52" y="6"/>
                  </a:lnTo>
                  <a:lnTo>
                    <a:pt x="46" y="9"/>
                  </a:lnTo>
                  <a:lnTo>
                    <a:pt x="39" y="13"/>
                  </a:lnTo>
                  <a:lnTo>
                    <a:pt x="33" y="16"/>
                  </a:lnTo>
                  <a:lnTo>
                    <a:pt x="27" y="21"/>
                  </a:lnTo>
                  <a:lnTo>
                    <a:pt x="22" y="26"/>
                  </a:lnTo>
                  <a:lnTo>
                    <a:pt x="17" y="32"/>
                  </a:lnTo>
                  <a:lnTo>
                    <a:pt x="13" y="38"/>
                  </a:lnTo>
                  <a:lnTo>
                    <a:pt x="9" y="44"/>
                  </a:lnTo>
                  <a:lnTo>
                    <a:pt x="6" y="51"/>
                  </a:lnTo>
                  <a:lnTo>
                    <a:pt x="3" y="58"/>
                  </a:lnTo>
                  <a:lnTo>
                    <a:pt x="1" y="65"/>
                  </a:lnTo>
                  <a:lnTo>
                    <a:pt x="0" y="72"/>
                  </a:lnTo>
                  <a:lnTo>
                    <a:pt x="165" y="72"/>
                  </a:lnTo>
                  <a:lnTo>
                    <a:pt x="164" y="65"/>
                  </a:lnTo>
                  <a:lnTo>
                    <a:pt x="161" y="57"/>
                  </a:lnTo>
                  <a:lnTo>
                    <a:pt x="159" y="51"/>
                  </a:lnTo>
                  <a:lnTo>
                    <a:pt x="155" y="44"/>
                  </a:lnTo>
                  <a:lnTo>
                    <a:pt x="152" y="38"/>
                  </a:lnTo>
                  <a:lnTo>
                    <a:pt x="147" y="32"/>
                  </a:lnTo>
                  <a:lnTo>
                    <a:pt x="142" y="26"/>
                  </a:lnTo>
                  <a:lnTo>
                    <a:pt x="138" y="21"/>
                  </a:lnTo>
                  <a:lnTo>
                    <a:pt x="132" y="16"/>
                  </a:lnTo>
                  <a:lnTo>
                    <a:pt x="126" y="13"/>
                  </a:lnTo>
                  <a:lnTo>
                    <a:pt x="119" y="9"/>
                  </a:lnTo>
                  <a:lnTo>
                    <a:pt x="113" y="6"/>
                  </a:lnTo>
                  <a:lnTo>
                    <a:pt x="105" y="3"/>
                  </a:lnTo>
                  <a:lnTo>
                    <a:pt x="98" y="2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051"/>
            <p:cNvSpPr>
              <a:spLocks/>
            </p:cNvSpPr>
            <p:nvPr/>
          </p:nvSpPr>
          <p:spPr bwMode="auto">
            <a:xfrm>
              <a:off x="9986963" y="1374775"/>
              <a:ext cx="66675" cy="52388"/>
            </a:xfrm>
            <a:custGeom>
              <a:avLst/>
              <a:gdLst>
                <a:gd name="T0" fmla="*/ 71 w 165"/>
                <a:gd name="T1" fmla="*/ 71 h 132"/>
                <a:gd name="T2" fmla="*/ 71 w 165"/>
                <a:gd name="T3" fmla="*/ 120 h 132"/>
                <a:gd name="T4" fmla="*/ 71 w 165"/>
                <a:gd name="T5" fmla="*/ 124 h 132"/>
                <a:gd name="T6" fmla="*/ 73 w 165"/>
                <a:gd name="T7" fmla="*/ 127 h 132"/>
                <a:gd name="T8" fmla="*/ 77 w 165"/>
                <a:gd name="T9" fmla="*/ 130 h 132"/>
                <a:gd name="T10" fmla="*/ 80 w 165"/>
                <a:gd name="T11" fmla="*/ 132 h 132"/>
                <a:gd name="T12" fmla="*/ 82 w 165"/>
                <a:gd name="T13" fmla="*/ 131 h 132"/>
                <a:gd name="T14" fmla="*/ 83 w 165"/>
                <a:gd name="T15" fmla="*/ 132 h 132"/>
                <a:gd name="T16" fmla="*/ 83 w 165"/>
                <a:gd name="T17" fmla="*/ 131 h 132"/>
                <a:gd name="T18" fmla="*/ 84 w 165"/>
                <a:gd name="T19" fmla="*/ 132 h 132"/>
                <a:gd name="T20" fmla="*/ 88 w 165"/>
                <a:gd name="T21" fmla="*/ 130 h 132"/>
                <a:gd name="T22" fmla="*/ 91 w 165"/>
                <a:gd name="T23" fmla="*/ 127 h 132"/>
                <a:gd name="T24" fmla="*/ 94 w 165"/>
                <a:gd name="T25" fmla="*/ 124 h 132"/>
                <a:gd name="T26" fmla="*/ 95 w 165"/>
                <a:gd name="T27" fmla="*/ 120 h 132"/>
                <a:gd name="T28" fmla="*/ 95 w 165"/>
                <a:gd name="T29" fmla="*/ 71 h 132"/>
                <a:gd name="T30" fmla="*/ 108 w 165"/>
                <a:gd name="T31" fmla="*/ 68 h 132"/>
                <a:gd name="T32" fmla="*/ 120 w 165"/>
                <a:gd name="T33" fmla="*/ 63 h 132"/>
                <a:gd name="T34" fmla="*/ 132 w 165"/>
                <a:gd name="T35" fmla="*/ 56 h 132"/>
                <a:gd name="T36" fmla="*/ 141 w 165"/>
                <a:gd name="T37" fmla="*/ 48 h 132"/>
                <a:gd name="T38" fmla="*/ 151 w 165"/>
                <a:gd name="T39" fmla="*/ 37 h 132"/>
                <a:gd name="T40" fmla="*/ 157 w 165"/>
                <a:gd name="T41" fmla="*/ 26 h 132"/>
                <a:gd name="T42" fmla="*/ 163 w 165"/>
                <a:gd name="T43" fmla="*/ 13 h 132"/>
                <a:gd name="T44" fmla="*/ 165 w 165"/>
                <a:gd name="T45" fmla="*/ 0 h 132"/>
                <a:gd name="T46" fmla="*/ 0 w 165"/>
                <a:gd name="T47" fmla="*/ 0 h 132"/>
                <a:gd name="T48" fmla="*/ 2 w 165"/>
                <a:gd name="T49" fmla="*/ 13 h 132"/>
                <a:gd name="T50" fmla="*/ 8 w 165"/>
                <a:gd name="T51" fmla="*/ 26 h 132"/>
                <a:gd name="T52" fmla="*/ 15 w 165"/>
                <a:gd name="T53" fmla="*/ 37 h 132"/>
                <a:gd name="T54" fmla="*/ 23 w 165"/>
                <a:gd name="T55" fmla="*/ 48 h 132"/>
                <a:gd name="T56" fmla="*/ 33 w 165"/>
                <a:gd name="T57" fmla="*/ 56 h 132"/>
                <a:gd name="T58" fmla="*/ 45 w 165"/>
                <a:gd name="T59" fmla="*/ 63 h 132"/>
                <a:gd name="T60" fmla="*/ 57 w 165"/>
                <a:gd name="T61" fmla="*/ 68 h 132"/>
                <a:gd name="T62" fmla="*/ 71 w 165"/>
                <a:gd name="T63" fmla="*/ 7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5" h="132">
                  <a:moveTo>
                    <a:pt x="71" y="71"/>
                  </a:moveTo>
                  <a:lnTo>
                    <a:pt x="71" y="120"/>
                  </a:lnTo>
                  <a:lnTo>
                    <a:pt x="71" y="124"/>
                  </a:lnTo>
                  <a:lnTo>
                    <a:pt x="73" y="127"/>
                  </a:lnTo>
                  <a:lnTo>
                    <a:pt x="77" y="130"/>
                  </a:lnTo>
                  <a:lnTo>
                    <a:pt x="80" y="132"/>
                  </a:lnTo>
                  <a:lnTo>
                    <a:pt x="82" y="131"/>
                  </a:lnTo>
                  <a:lnTo>
                    <a:pt x="83" y="132"/>
                  </a:lnTo>
                  <a:lnTo>
                    <a:pt x="83" y="131"/>
                  </a:lnTo>
                  <a:lnTo>
                    <a:pt x="84" y="132"/>
                  </a:lnTo>
                  <a:lnTo>
                    <a:pt x="88" y="130"/>
                  </a:lnTo>
                  <a:lnTo>
                    <a:pt x="91" y="127"/>
                  </a:lnTo>
                  <a:lnTo>
                    <a:pt x="94" y="124"/>
                  </a:lnTo>
                  <a:lnTo>
                    <a:pt x="95" y="120"/>
                  </a:lnTo>
                  <a:lnTo>
                    <a:pt x="95" y="71"/>
                  </a:lnTo>
                  <a:lnTo>
                    <a:pt x="108" y="68"/>
                  </a:lnTo>
                  <a:lnTo>
                    <a:pt x="120" y="63"/>
                  </a:lnTo>
                  <a:lnTo>
                    <a:pt x="132" y="56"/>
                  </a:lnTo>
                  <a:lnTo>
                    <a:pt x="141" y="48"/>
                  </a:lnTo>
                  <a:lnTo>
                    <a:pt x="151" y="37"/>
                  </a:lnTo>
                  <a:lnTo>
                    <a:pt x="157" y="26"/>
                  </a:lnTo>
                  <a:lnTo>
                    <a:pt x="163" y="13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2" y="13"/>
                  </a:lnTo>
                  <a:lnTo>
                    <a:pt x="8" y="26"/>
                  </a:lnTo>
                  <a:lnTo>
                    <a:pt x="15" y="37"/>
                  </a:lnTo>
                  <a:lnTo>
                    <a:pt x="23" y="48"/>
                  </a:lnTo>
                  <a:lnTo>
                    <a:pt x="33" y="56"/>
                  </a:lnTo>
                  <a:lnTo>
                    <a:pt x="45" y="63"/>
                  </a:lnTo>
                  <a:lnTo>
                    <a:pt x="57" y="68"/>
                  </a:lnTo>
                  <a:lnTo>
                    <a:pt x="71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052"/>
            <p:cNvSpPr>
              <a:spLocks/>
            </p:cNvSpPr>
            <p:nvPr/>
          </p:nvSpPr>
          <p:spPr bwMode="auto">
            <a:xfrm>
              <a:off x="9882188" y="1427163"/>
              <a:ext cx="276225" cy="138113"/>
            </a:xfrm>
            <a:custGeom>
              <a:avLst/>
              <a:gdLst>
                <a:gd name="T0" fmla="*/ 601 w 694"/>
                <a:gd name="T1" fmla="*/ 347 h 347"/>
                <a:gd name="T2" fmla="*/ 625 w 694"/>
                <a:gd name="T3" fmla="*/ 331 h 347"/>
                <a:gd name="T4" fmla="*/ 651 w 694"/>
                <a:gd name="T5" fmla="*/ 306 h 347"/>
                <a:gd name="T6" fmla="*/ 670 w 694"/>
                <a:gd name="T7" fmla="*/ 277 h 347"/>
                <a:gd name="T8" fmla="*/ 685 w 694"/>
                <a:gd name="T9" fmla="*/ 248 h 347"/>
                <a:gd name="T10" fmla="*/ 692 w 694"/>
                <a:gd name="T11" fmla="*/ 214 h 347"/>
                <a:gd name="T12" fmla="*/ 693 w 694"/>
                <a:gd name="T13" fmla="*/ 171 h 347"/>
                <a:gd name="T14" fmla="*/ 680 w 694"/>
                <a:gd name="T15" fmla="*/ 114 h 347"/>
                <a:gd name="T16" fmla="*/ 654 w 694"/>
                <a:gd name="T17" fmla="*/ 68 h 347"/>
                <a:gd name="T18" fmla="*/ 617 w 694"/>
                <a:gd name="T19" fmla="*/ 31 h 347"/>
                <a:gd name="T20" fmla="*/ 569 w 694"/>
                <a:gd name="T21" fmla="*/ 8 h 347"/>
                <a:gd name="T22" fmla="*/ 515 w 694"/>
                <a:gd name="T23" fmla="*/ 0 h 347"/>
                <a:gd name="T24" fmla="*/ 485 w 694"/>
                <a:gd name="T25" fmla="*/ 2 h 347"/>
                <a:gd name="T26" fmla="*/ 436 w 694"/>
                <a:gd name="T27" fmla="*/ 19 h 347"/>
                <a:gd name="T28" fmla="*/ 468 w 694"/>
                <a:gd name="T29" fmla="*/ 39 h 347"/>
                <a:gd name="T30" fmla="*/ 497 w 694"/>
                <a:gd name="T31" fmla="*/ 66 h 347"/>
                <a:gd name="T32" fmla="*/ 518 w 694"/>
                <a:gd name="T33" fmla="*/ 98 h 347"/>
                <a:gd name="T34" fmla="*/ 532 w 694"/>
                <a:gd name="T35" fmla="*/ 135 h 347"/>
                <a:gd name="T36" fmla="*/ 540 w 694"/>
                <a:gd name="T37" fmla="*/ 175 h 347"/>
                <a:gd name="T38" fmla="*/ 537 w 694"/>
                <a:gd name="T39" fmla="*/ 223 h 347"/>
                <a:gd name="T40" fmla="*/ 526 w 694"/>
                <a:gd name="T41" fmla="*/ 258 h 347"/>
                <a:gd name="T42" fmla="*/ 517 w 694"/>
                <a:gd name="T43" fmla="*/ 263 h 347"/>
                <a:gd name="T44" fmla="*/ 509 w 694"/>
                <a:gd name="T45" fmla="*/ 259 h 347"/>
                <a:gd name="T46" fmla="*/ 506 w 694"/>
                <a:gd name="T47" fmla="*/ 246 h 347"/>
                <a:gd name="T48" fmla="*/ 515 w 694"/>
                <a:gd name="T49" fmla="*/ 203 h 347"/>
                <a:gd name="T50" fmla="*/ 512 w 694"/>
                <a:gd name="T51" fmla="*/ 155 h 347"/>
                <a:gd name="T52" fmla="*/ 497 w 694"/>
                <a:gd name="T53" fmla="*/ 108 h 347"/>
                <a:gd name="T54" fmla="*/ 468 w 694"/>
                <a:gd name="T55" fmla="*/ 70 h 347"/>
                <a:gd name="T56" fmla="*/ 429 w 694"/>
                <a:gd name="T57" fmla="*/ 43 h 347"/>
                <a:gd name="T58" fmla="*/ 383 w 694"/>
                <a:gd name="T59" fmla="*/ 26 h 347"/>
                <a:gd name="T60" fmla="*/ 329 w 694"/>
                <a:gd name="T61" fmla="*/ 24 h 347"/>
                <a:gd name="T62" fmla="*/ 280 w 694"/>
                <a:gd name="T63" fmla="*/ 36 h 347"/>
                <a:gd name="T64" fmla="*/ 239 w 694"/>
                <a:gd name="T65" fmla="*/ 61 h 347"/>
                <a:gd name="T66" fmla="*/ 205 w 694"/>
                <a:gd name="T67" fmla="*/ 96 h 347"/>
                <a:gd name="T68" fmla="*/ 185 w 694"/>
                <a:gd name="T69" fmla="*/ 139 h 347"/>
                <a:gd name="T70" fmla="*/ 177 w 694"/>
                <a:gd name="T71" fmla="*/ 189 h 347"/>
                <a:gd name="T72" fmla="*/ 183 w 694"/>
                <a:gd name="T73" fmla="*/ 232 h 347"/>
                <a:gd name="T74" fmla="*/ 186 w 694"/>
                <a:gd name="T75" fmla="*/ 255 h 347"/>
                <a:gd name="T76" fmla="*/ 174 w 694"/>
                <a:gd name="T77" fmla="*/ 262 h 347"/>
                <a:gd name="T78" fmla="*/ 164 w 694"/>
                <a:gd name="T79" fmla="*/ 253 h 347"/>
                <a:gd name="T80" fmla="*/ 154 w 694"/>
                <a:gd name="T81" fmla="*/ 206 h 347"/>
                <a:gd name="T82" fmla="*/ 155 w 694"/>
                <a:gd name="T83" fmla="*/ 162 h 347"/>
                <a:gd name="T84" fmla="*/ 165 w 694"/>
                <a:gd name="T85" fmla="*/ 124 h 347"/>
                <a:gd name="T86" fmla="*/ 182 w 694"/>
                <a:gd name="T87" fmla="*/ 88 h 347"/>
                <a:gd name="T88" fmla="*/ 207 w 694"/>
                <a:gd name="T89" fmla="*/ 58 h 347"/>
                <a:gd name="T90" fmla="*/ 235 w 694"/>
                <a:gd name="T91" fmla="*/ 33 h 347"/>
                <a:gd name="T92" fmla="*/ 242 w 694"/>
                <a:gd name="T93" fmla="*/ 13 h 347"/>
                <a:gd name="T94" fmla="*/ 202 w 694"/>
                <a:gd name="T95" fmla="*/ 1 h 347"/>
                <a:gd name="T96" fmla="*/ 160 w 694"/>
                <a:gd name="T97" fmla="*/ 1 h 347"/>
                <a:gd name="T98" fmla="*/ 107 w 694"/>
                <a:gd name="T99" fmla="*/ 14 h 347"/>
                <a:gd name="T100" fmla="*/ 63 w 694"/>
                <a:gd name="T101" fmla="*/ 42 h 347"/>
                <a:gd name="T102" fmla="*/ 28 w 694"/>
                <a:gd name="T103" fmla="*/ 82 h 347"/>
                <a:gd name="T104" fmla="*/ 7 w 694"/>
                <a:gd name="T105" fmla="*/ 132 h 347"/>
                <a:gd name="T106" fmla="*/ 0 w 694"/>
                <a:gd name="T107" fmla="*/ 192 h 347"/>
                <a:gd name="T108" fmla="*/ 2 w 694"/>
                <a:gd name="T109" fmla="*/ 225 h 347"/>
                <a:gd name="T110" fmla="*/ 13 w 694"/>
                <a:gd name="T111" fmla="*/ 256 h 347"/>
                <a:gd name="T112" fmla="*/ 28 w 694"/>
                <a:gd name="T113" fmla="*/ 286 h 347"/>
                <a:gd name="T114" fmla="*/ 49 w 694"/>
                <a:gd name="T115" fmla="*/ 313 h 347"/>
                <a:gd name="T116" fmla="*/ 78 w 694"/>
                <a:gd name="T117" fmla="*/ 33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4" h="347">
                  <a:moveTo>
                    <a:pt x="88" y="345"/>
                  </a:moveTo>
                  <a:lnTo>
                    <a:pt x="91" y="347"/>
                  </a:lnTo>
                  <a:lnTo>
                    <a:pt x="601" y="347"/>
                  </a:lnTo>
                  <a:lnTo>
                    <a:pt x="605" y="345"/>
                  </a:lnTo>
                  <a:lnTo>
                    <a:pt x="615" y="338"/>
                  </a:lnTo>
                  <a:lnTo>
                    <a:pt x="625" y="331"/>
                  </a:lnTo>
                  <a:lnTo>
                    <a:pt x="635" y="322"/>
                  </a:lnTo>
                  <a:lnTo>
                    <a:pt x="643" y="314"/>
                  </a:lnTo>
                  <a:lnTo>
                    <a:pt x="651" y="306"/>
                  </a:lnTo>
                  <a:lnTo>
                    <a:pt x="659" y="296"/>
                  </a:lnTo>
                  <a:lnTo>
                    <a:pt x="664" y="288"/>
                  </a:lnTo>
                  <a:lnTo>
                    <a:pt x="670" y="277"/>
                  </a:lnTo>
                  <a:lnTo>
                    <a:pt x="676" y="268"/>
                  </a:lnTo>
                  <a:lnTo>
                    <a:pt x="681" y="258"/>
                  </a:lnTo>
                  <a:lnTo>
                    <a:pt x="685" y="248"/>
                  </a:lnTo>
                  <a:lnTo>
                    <a:pt x="688" y="237"/>
                  </a:lnTo>
                  <a:lnTo>
                    <a:pt x="691" y="226"/>
                  </a:lnTo>
                  <a:lnTo>
                    <a:pt x="692" y="214"/>
                  </a:lnTo>
                  <a:lnTo>
                    <a:pt x="693" y="203"/>
                  </a:lnTo>
                  <a:lnTo>
                    <a:pt x="694" y="192"/>
                  </a:lnTo>
                  <a:lnTo>
                    <a:pt x="693" y="171"/>
                  </a:lnTo>
                  <a:lnTo>
                    <a:pt x="691" y="151"/>
                  </a:lnTo>
                  <a:lnTo>
                    <a:pt x="686" y="132"/>
                  </a:lnTo>
                  <a:lnTo>
                    <a:pt x="680" y="114"/>
                  </a:lnTo>
                  <a:lnTo>
                    <a:pt x="673" y="98"/>
                  </a:lnTo>
                  <a:lnTo>
                    <a:pt x="664" y="82"/>
                  </a:lnTo>
                  <a:lnTo>
                    <a:pt x="654" y="68"/>
                  </a:lnTo>
                  <a:lnTo>
                    <a:pt x="643" y="54"/>
                  </a:lnTo>
                  <a:lnTo>
                    <a:pt x="630" y="42"/>
                  </a:lnTo>
                  <a:lnTo>
                    <a:pt x="617" y="31"/>
                  </a:lnTo>
                  <a:lnTo>
                    <a:pt x="601" y="22"/>
                  </a:lnTo>
                  <a:lnTo>
                    <a:pt x="586" y="14"/>
                  </a:lnTo>
                  <a:lnTo>
                    <a:pt x="569" y="8"/>
                  </a:lnTo>
                  <a:lnTo>
                    <a:pt x="551" y="4"/>
                  </a:lnTo>
                  <a:lnTo>
                    <a:pt x="534" y="1"/>
                  </a:lnTo>
                  <a:lnTo>
                    <a:pt x="515" y="0"/>
                  </a:lnTo>
                  <a:lnTo>
                    <a:pt x="504" y="0"/>
                  </a:lnTo>
                  <a:lnTo>
                    <a:pt x="494" y="1"/>
                  </a:lnTo>
                  <a:lnTo>
                    <a:pt x="485" y="2"/>
                  </a:lnTo>
                  <a:lnTo>
                    <a:pt x="475" y="5"/>
                  </a:lnTo>
                  <a:lnTo>
                    <a:pt x="455" y="11"/>
                  </a:lnTo>
                  <a:lnTo>
                    <a:pt x="436" y="19"/>
                  </a:lnTo>
                  <a:lnTo>
                    <a:pt x="447" y="25"/>
                  </a:lnTo>
                  <a:lnTo>
                    <a:pt x="459" y="32"/>
                  </a:lnTo>
                  <a:lnTo>
                    <a:pt x="468" y="39"/>
                  </a:lnTo>
                  <a:lnTo>
                    <a:pt x="479" y="48"/>
                  </a:lnTo>
                  <a:lnTo>
                    <a:pt x="487" y="56"/>
                  </a:lnTo>
                  <a:lnTo>
                    <a:pt x="497" y="66"/>
                  </a:lnTo>
                  <a:lnTo>
                    <a:pt x="504" y="75"/>
                  </a:lnTo>
                  <a:lnTo>
                    <a:pt x="511" y="86"/>
                  </a:lnTo>
                  <a:lnTo>
                    <a:pt x="518" y="98"/>
                  </a:lnTo>
                  <a:lnTo>
                    <a:pt x="523" y="110"/>
                  </a:lnTo>
                  <a:lnTo>
                    <a:pt x="528" y="121"/>
                  </a:lnTo>
                  <a:lnTo>
                    <a:pt x="532" y="135"/>
                  </a:lnTo>
                  <a:lnTo>
                    <a:pt x="536" y="148"/>
                  </a:lnTo>
                  <a:lnTo>
                    <a:pt x="537" y="161"/>
                  </a:lnTo>
                  <a:lnTo>
                    <a:pt x="540" y="175"/>
                  </a:lnTo>
                  <a:lnTo>
                    <a:pt x="540" y="189"/>
                  </a:lnTo>
                  <a:lnTo>
                    <a:pt x="538" y="206"/>
                  </a:lnTo>
                  <a:lnTo>
                    <a:pt x="537" y="223"/>
                  </a:lnTo>
                  <a:lnTo>
                    <a:pt x="534" y="239"/>
                  </a:lnTo>
                  <a:lnTo>
                    <a:pt x="528" y="255"/>
                  </a:lnTo>
                  <a:lnTo>
                    <a:pt x="526" y="258"/>
                  </a:lnTo>
                  <a:lnTo>
                    <a:pt x="524" y="261"/>
                  </a:lnTo>
                  <a:lnTo>
                    <a:pt x="521" y="262"/>
                  </a:lnTo>
                  <a:lnTo>
                    <a:pt x="517" y="263"/>
                  </a:lnTo>
                  <a:lnTo>
                    <a:pt x="515" y="263"/>
                  </a:lnTo>
                  <a:lnTo>
                    <a:pt x="513" y="262"/>
                  </a:lnTo>
                  <a:lnTo>
                    <a:pt x="509" y="259"/>
                  </a:lnTo>
                  <a:lnTo>
                    <a:pt x="506" y="256"/>
                  </a:lnTo>
                  <a:lnTo>
                    <a:pt x="505" y="251"/>
                  </a:lnTo>
                  <a:lnTo>
                    <a:pt x="506" y="246"/>
                  </a:lnTo>
                  <a:lnTo>
                    <a:pt x="510" y="233"/>
                  </a:lnTo>
                  <a:lnTo>
                    <a:pt x="513" y="219"/>
                  </a:lnTo>
                  <a:lnTo>
                    <a:pt x="515" y="203"/>
                  </a:lnTo>
                  <a:lnTo>
                    <a:pt x="516" y="189"/>
                  </a:lnTo>
                  <a:lnTo>
                    <a:pt x="515" y="171"/>
                  </a:lnTo>
                  <a:lnTo>
                    <a:pt x="512" y="155"/>
                  </a:lnTo>
                  <a:lnTo>
                    <a:pt x="509" y="138"/>
                  </a:lnTo>
                  <a:lnTo>
                    <a:pt x="503" y="123"/>
                  </a:lnTo>
                  <a:lnTo>
                    <a:pt x="497" y="108"/>
                  </a:lnTo>
                  <a:lnTo>
                    <a:pt x="488" y="94"/>
                  </a:lnTo>
                  <a:lnTo>
                    <a:pt x="479" y="82"/>
                  </a:lnTo>
                  <a:lnTo>
                    <a:pt x="468" y="70"/>
                  </a:lnTo>
                  <a:lnTo>
                    <a:pt x="456" y="60"/>
                  </a:lnTo>
                  <a:lnTo>
                    <a:pt x="443" y="50"/>
                  </a:lnTo>
                  <a:lnTo>
                    <a:pt x="429" y="43"/>
                  </a:lnTo>
                  <a:lnTo>
                    <a:pt x="415" y="36"/>
                  </a:lnTo>
                  <a:lnTo>
                    <a:pt x="398" y="31"/>
                  </a:lnTo>
                  <a:lnTo>
                    <a:pt x="383" y="26"/>
                  </a:lnTo>
                  <a:lnTo>
                    <a:pt x="365" y="24"/>
                  </a:lnTo>
                  <a:lnTo>
                    <a:pt x="347" y="24"/>
                  </a:lnTo>
                  <a:lnTo>
                    <a:pt x="329" y="24"/>
                  </a:lnTo>
                  <a:lnTo>
                    <a:pt x="312" y="26"/>
                  </a:lnTo>
                  <a:lnTo>
                    <a:pt x="296" y="31"/>
                  </a:lnTo>
                  <a:lnTo>
                    <a:pt x="280" y="36"/>
                  </a:lnTo>
                  <a:lnTo>
                    <a:pt x="265" y="43"/>
                  </a:lnTo>
                  <a:lnTo>
                    <a:pt x="252" y="51"/>
                  </a:lnTo>
                  <a:lnTo>
                    <a:pt x="239" y="61"/>
                  </a:lnTo>
                  <a:lnTo>
                    <a:pt x="227" y="71"/>
                  </a:lnTo>
                  <a:lnTo>
                    <a:pt x="215" y="83"/>
                  </a:lnTo>
                  <a:lnTo>
                    <a:pt x="205" y="96"/>
                  </a:lnTo>
                  <a:lnTo>
                    <a:pt x="197" y="110"/>
                  </a:lnTo>
                  <a:lnTo>
                    <a:pt x="190" y="124"/>
                  </a:lnTo>
                  <a:lnTo>
                    <a:pt x="185" y="139"/>
                  </a:lnTo>
                  <a:lnTo>
                    <a:pt x="180" y="156"/>
                  </a:lnTo>
                  <a:lnTo>
                    <a:pt x="178" y="173"/>
                  </a:lnTo>
                  <a:lnTo>
                    <a:pt x="177" y="189"/>
                  </a:lnTo>
                  <a:lnTo>
                    <a:pt x="178" y="203"/>
                  </a:lnTo>
                  <a:lnTo>
                    <a:pt x="179" y="218"/>
                  </a:lnTo>
                  <a:lnTo>
                    <a:pt x="183" y="232"/>
                  </a:lnTo>
                  <a:lnTo>
                    <a:pt x="186" y="245"/>
                  </a:lnTo>
                  <a:lnTo>
                    <a:pt x="187" y="250"/>
                  </a:lnTo>
                  <a:lnTo>
                    <a:pt x="186" y="255"/>
                  </a:lnTo>
                  <a:lnTo>
                    <a:pt x="184" y="258"/>
                  </a:lnTo>
                  <a:lnTo>
                    <a:pt x="179" y="261"/>
                  </a:lnTo>
                  <a:lnTo>
                    <a:pt x="174" y="262"/>
                  </a:lnTo>
                  <a:lnTo>
                    <a:pt x="170" y="261"/>
                  </a:lnTo>
                  <a:lnTo>
                    <a:pt x="166" y="257"/>
                  </a:lnTo>
                  <a:lnTo>
                    <a:pt x="164" y="253"/>
                  </a:lnTo>
                  <a:lnTo>
                    <a:pt x="159" y="238"/>
                  </a:lnTo>
                  <a:lnTo>
                    <a:pt x="155" y="223"/>
                  </a:lnTo>
                  <a:lnTo>
                    <a:pt x="154" y="206"/>
                  </a:lnTo>
                  <a:lnTo>
                    <a:pt x="153" y="189"/>
                  </a:lnTo>
                  <a:lnTo>
                    <a:pt x="154" y="176"/>
                  </a:lnTo>
                  <a:lnTo>
                    <a:pt x="155" y="162"/>
                  </a:lnTo>
                  <a:lnTo>
                    <a:pt x="158" y="149"/>
                  </a:lnTo>
                  <a:lnTo>
                    <a:pt x="161" y="136"/>
                  </a:lnTo>
                  <a:lnTo>
                    <a:pt x="165" y="124"/>
                  </a:lnTo>
                  <a:lnTo>
                    <a:pt x="170" y="111"/>
                  </a:lnTo>
                  <a:lnTo>
                    <a:pt x="176" y="100"/>
                  </a:lnTo>
                  <a:lnTo>
                    <a:pt x="182" y="88"/>
                  </a:lnTo>
                  <a:lnTo>
                    <a:pt x="190" y="77"/>
                  </a:lnTo>
                  <a:lnTo>
                    <a:pt x="197" y="68"/>
                  </a:lnTo>
                  <a:lnTo>
                    <a:pt x="207" y="58"/>
                  </a:lnTo>
                  <a:lnTo>
                    <a:pt x="215" y="49"/>
                  </a:lnTo>
                  <a:lnTo>
                    <a:pt x="226" y="41"/>
                  </a:lnTo>
                  <a:lnTo>
                    <a:pt x="235" y="33"/>
                  </a:lnTo>
                  <a:lnTo>
                    <a:pt x="247" y="26"/>
                  </a:lnTo>
                  <a:lnTo>
                    <a:pt x="258" y="20"/>
                  </a:lnTo>
                  <a:lnTo>
                    <a:pt x="242" y="13"/>
                  </a:lnTo>
                  <a:lnTo>
                    <a:pt x="223" y="6"/>
                  </a:lnTo>
                  <a:lnTo>
                    <a:pt x="212" y="4"/>
                  </a:lnTo>
                  <a:lnTo>
                    <a:pt x="202" y="1"/>
                  </a:lnTo>
                  <a:lnTo>
                    <a:pt x="191" y="0"/>
                  </a:lnTo>
                  <a:lnTo>
                    <a:pt x="179" y="0"/>
                  </a:lnTo>
                  <a:lnTo>
                    <a:pt x="160" y="1"/>
                  </a:lnTo>
                  <a:lnTo>
                    <a:pt x="141" y="4"/>
                  </a:lnTo>
                  <a:lnTo>
                    <a:pt x="123" y="8"/>
                  </a:lnTo>
                  <a:lnTo>
                    <a:pt x="107" y="14"/>
                  </a:lnTo>
                  <a:lnTo>
                    <a:pt x="91" y="22"/>
                  </a:lnTo>
                  <a:lnTo>
                    <a:pt x="76" y="31"/>
                  </a:lnTo>
                  <a:lnTo>
                    <a:pt x="63" y="42"/>
                  </a:lnTo>
                  <a:lnTo>
                    <a:pt x="49" y="54"/>
                  </a:lnTo>
                  <a:lnTo>
                    <a:pt x="39" y="68"/>
                  </a:lnTo>
                  <a:lnTo>
                    <a:pt x="28" y="82"/>
                  </a:lnTo>
                  <a:lnTo>
                    <a:pt x="20" y="98"/>
                  </a:lnTo>
                  <a:lnTo>
                    <a:pt x="13" y="114"/>
                  </a:lnTo>
                  <a:lnTo>
                    <a:pt x="7" y="132"/>
                  </a:lnTo>
                  <a:lnTo>
                    <a:pt x="3" y="151"/>
                  </a:lnTo>
                  <a:lnTo>
                    <a:pt x="0" y="171"/>
                  </a:lnTo>
                  <a:lnTo>
                    <a:pt x="0" y="192"/>
                  </a:lnTo>
                  <a:lnTo>
                    <a:pt x="0" y="202"/>
                  </a:lnTo>
                  <a:lnTo>
                    <a:pt x="1" y="213"/>
                  </a:lnTo>
                  <a:lnTo>
                    <a:pt x="2" y="225"/>
                  </a:lnTo>
                  <a:lnTo>
                    <a:pt x="5" y="236"/>
                  </a:lnTo>
                  <a:lnTo>
                    <a:pt x="8" y="245"/>
                  </a:lnTo>
                  <a:lnTo>
                    <a:pt x="13" y="256"/>
                  </a:lnTo>
                  <a:lnTo>
                    <a:pt x="16" y="267"/>
                  </a:lnTo>
                  <a:lnTo>
                    <a:pt x="22" y="276"/>
                  </a:lnTo>
                  <a:lnTo>
                    <a:pt x="28" y="286"/>
                  </a:lnTo>
                  <a:lnTo>
                    <a:pt x="35" y="295"/>
                  </a:lnTo>
                  <a:lnTo>
                    <a:pt x="42" y="305"/>
                  </a:lnTo>
                  <a:lnTo>
                    <a:pt x="49" y="313"/>
                  </a:lnTo>
                  <a:lnTo>
                    <a:pt x="59" y="321"/>
                  </a:lnTo>
                  <a:lnTo>
                    <a:pt x="67" y="330"/>
                  </a:lnTo>
                  <a:lnTo>
                    <a:pt x="78" y="338"/>
                  </a:lnTo>
                  <a:lnTo>
                    <a:pt x="88" y="345"/>
                  </a:lnTo>
                  <a:lnTo>
                    <a:pt x="88" y="3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3949310" y="1681993"/>
            <a:ext cx="175406" cy="187934"/>
            <a:chOff x="10464800" y="1382713"/>
            <a:chExt cx="266701" cy="285750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82" name="Freeform 4133"/>
            <p:cNvSpPr>
              <a:spLocks noEditPoints="1"/>
            </p:cNvSpPr>
            <p:nvPr/>
          </p:nvSpPr>
          <p:spPr bwMode="auto">
            <a:xfrm>
              <a:off x="10464800" y="1487488"/>
              <a:ext cx="230188" cy="180975"/>
            </a:xfrm>
            <a:custGeom>
              <a:avLst/>
              <a:gdLst>
                <a:gd name="T0" fmla="*/ 210 w 721"/>
                <a:gd name="T1" fmla="*/ 420 h 570"/>
                <a:gd name="T2" fmla="*/ 511 w 721"/>
                <a:gd name="T3" fmla="*/ 150 h 570"/>
                <a:gd name="T4" fmla="*/ 706 w 721"/>
                <a:gd name="T5" fmla="*/ 0 h 570"/>
                <a:gd name="T6" fmla="*/ 556 w 721"/>
                <a:gd name="T7" fmla="*/ 60 h 570"/>
                <a:gd name="T8" fmla="*/ 554 w 721"/>
                <a:gd name="T9" fmla="*/ 72 h 570"/>
                <a:gd name="T10" fmla="*/ 547 w 721"/>
                <a:gd name="T11" fmla="*/ 80 h 570"/>
                <a:gd name="T12" fmla="*/ 538 w 721"/>
                <a:gd name="T13" fmla="*/ 88 h 570"/>
                <a:gd name="T14" fmla="*/ 526 w 721"/>
                <a:gd name="T15" fmla="*/ 90 h 570"/>
                <a:gd name="T16" fmla="*/ 514 w 721"/>
                <a:gd name="T17" fmla="*/ 87 h 570"/>
                <a:gd name="T18" fmla="*/ 505 w 721"/>
                <a:gd name="T19" fmla="*/ 80 h 570"/>
                <a:gd name="T20" fmla="*/ 498 w 721"/>
                <a:gd name="T21" fmla="*/ 72 h 570"/>
                <a:gd name="T22" fmla="*/ 496 w 721"/>
                <a:gd name="T23" fmla="*/ 60 h 570"/>
                <a:gd name="T24" fmla="*/ 225 w 721"/>
                <a:gd name="T25" fmla="*/ 0 h 570"/>
                <a:gd name="T26" fmla="*/ 225 w 721"/>
                <a:gd name="T27" fmla="*/ 65 h 570"/>
                <a:gd name="T28" fmla="*/ 221 w 721"/>
                <a:gd name="T29" fmla="*/ 76 h 570"/>
                <a:gd name="T30" fmla="*/ 212 w 721"/>
                <a:gd name="T31" fmla="*/ 85 h 570"/>
                <a:gd name="T32" fmla="*/ 201 w 721"/>
                <a:gd name="T33" fmla="*/ 89 h 570"/>
                <a:gd name="T34" fmla="*/ 189 w 721"/>
                <a:gd name="T35" fmla="*/ 89 h 570"/>
                <a:gd name="T36" fmla="*/ 179 w 721"/>
                <a:gd name="T37" fmla="*/ 85 h 570"/>
                <a:gd name="T38" fmla="*/ 170 w 721"/>
                <a:gd name="T39" fmla="*/ 76 h 570"/>
                <a:gd name="T40" fmla="*/ 166 w 721"/>
                <a:gd name="T41" fmla="*/ 65 h 570"/>
                <a:gd name="T42" fmla="*/ 165 w 721"/>
                <a:gd name="T43" fmla="*/ 0 h 570"/>
                <a:gd name="T44" fmla="*/ 11 w 721"/>
                <a:gd name="T45" fmla="*/ 0 h 570"/>
                <a:gd name="T46" fmla="*/ 6 w 721"/>
                <a:gd name="T47" fmla="*/ 2 h 570"/>
                <a:gd name="T48" fmla="*/ 3 w 721"/>
                <a:gd name="T49" fmla="*/ 6 h 570"/>
                <a:gd name="T50" fmla="*/ 0 w 721"/>
                <a:gd name="T51" fmla="*/ 12 h 570"/>
                <a:gd name="T52" fmla="*/ 0 w 721"/>
                <a:gd name="T53" fmla="*/ 555 h 570"/>
                <a:gd name="T54" fmla="*/ 1 w 721"/>
                <a:gd name="T55" fmla="*/ 562 h 570"/>
                <a:gd name="T56" fmla="*/ 4 w 721"/>
                <a:gd name="T57" fmla="*/ 566 h 570"/>
                <a:gd name="T58" fmla="*/ 9 w 721"/>
                <a:gd name="T59" fmla="*/ 569 h 570"/>
                <a:gd name="T60" fmla="*/ 15 w 721"/>
                <a:gd name="T61" fmla="*/ 570 h 570"/>
                <a:gd name="T62" fmla="*/ 709 w 721"/>
                <a:gd name="T63" fmla="*/ 570 h 570"/>
                <a:gd name="T64" fmla="*/ 715 w 721"/>
                <a:gd name="T65" fmla="*/ 568 h 570"/>
                <a:gd name="T66" fmla="*/ 719 w 721"/>
                <a:gd name="T67" fmla="*/ 564 h 570"/>
                <a:gd name="T68" fmla="*/ 721 w 721"/>
                <a:gd name="T69" fmla="*/ 559 h 570"/>
                <a:gd name="T70" fmla="*/ 721 w 721"/>
                <a:gd name="T71" fmla="*/ 15 h 570"/>
                <a:gd name="T72" fmla="*/ 720 w 721"/>
                <a:gd name="T73" fmla="*/ 9 h 570"/>
                <a:gd name="T74" fmla="*/ 717 w 721"/>
                <a:gd name="T75" fmla="*/ 4 h 570"/>
                <a:gd name="T76" fmla="*/ 713 w 721"/>
                <a:gd name="T77" fmla="*/ 1 h 570"/>
                <a:gd name="T78" fmla="*/ 706 w 721"/>
                <a:gd name="T79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1" h="570">
                  <a:moveTo>
                    <a:pt x="511" y="420"/>
                  </a:moveTo>
                  <a:lnTo>
                    <a:pt x="210" y="420"/>
                  </a:lnTo>
                  <a:lnTo>
                    <a:pt x="210" y="150"/>
                  </a:lnTo>
                  <a:lnTo>
                    <a:pt x="511" y="150"/>
                  </a:lnTo>
                  <a:lnTo>
                    <a:pt x="511" y="420"/>
                  </a:lnTo>
                  <a:close/>
                  <a:moveTo>
                    <a:pt x="706" y="0"/>
                  </a:moveTo>
                  <a:lnTo>
                    <a:pt x="556" y="0"/>
                  </a:lnTo>
                  <a:lnTo>
                    <a:pt x="556" y="60"/>
                  </a:lnTo>
                  <a:lnTo>
                    <a:pt x="555" y="65"/>
                  </a:lnTo>
                  <a:lnTo>
                    <a:pt x="554" y="72"/>
                  </a:lnTo>
                  <a:lnTo>
                    <a:pt x="551" y="76"/>
                  </a:lnTo>
                  <a:lnTo>
                    <a:pt x="547" y="80"/>
                  </a:lnTo>
                  <a:lnTo>
                    <a:pt x="543" y="85"/>
                  </a:lnTo>
                  <a:lnTo>
                    <a:pt x="538" y="88"/>
                  </a:lnTo>
                  <a:lnTo>
                    <a:pt x="532" y="89"/>
                  </a:lnTo>
                  <a:lnTo>
                    <a:pt x="526" y="90"/>
                  </a:lnTo>
                  <a:lnTo>
                    <a:pt x="520" y="89"/>
                  </a:lnTo>
                  <a:lnTo>
                    <a:pt x="514" y="87"/>
                  </a:lnTo>
                  <a:lnTo>
                    <a:pt x="509" y="85"/>
                  </a:lnTo>
                  <a:lnTo>
                    <a:pt x="505" y="80"/>
                  </a:lnTo>
                  <a:lnTo>
                    <a:pt x="501" y="76"/>
                  </a:lnTo>
                  <a:lnTo>
                    <a:pt x="498" y="72"/>
                  </a:lnTo>
                  <a:lnTo>
                    <a:pt x="496" y="65"/>
                  </a:lnTo>
                  <a:lnTo>
                    <a:pt x="496" y="60"/>
                  </a:lnTo>
                  <a:lnTo>
                    <a:pt x="496" y="0"/>
                  </a:lnTo>
                  <a:lnTo>
                    <a:pt x="225" y="0"/>
                  </a:lnTo>
                  <a:lnTo>
                    <a:pt x="226" y="60"/>
                  </a:lnTo>
                  <a:lnTo>
                    <a:pt x="225" y="65"/>
                  </a:lnTo>
                  <a:lnTo>
                    <a:pt x="223" y="72"/>
                  </a:lnTo>
                  <a:lnTo>
                    <a:pt x="221" y="76"/>
                  </a:lnTo>
                  <a:lnTo>
                    <a:pt x="216" y="80"/>
                  </a:lnTo>
                  <a:lnTo>
                    <a:pt x="212" y="85"/>
                  </a:lnTo>
                  <a:lnTo>
                    <a:pt x="207" y="88"/>
                  </a:lnTo>
                  <a:lnTo>
                    <a:pt x="201" y="89"/>
                  </a:lnTo>
                  <a:lnTo>
                    <a:pt x="195" y="90"/>
                  </a:lnTo>
                  <a:lnTo>
                    <a:pt x="189" y="89"/>
                  </a:lnTo>
                  <a:lnTo>
                    <a:pt x="184" y="87"/>
                  </a:lnTo>
                  <a:lnTo>
                    <a:pt x="179" y="85"/>
                  </a:lnTo>
                  <a:lnTo>
                    <a:pt x="174" y="80"/>
                  </a:lnTo>
                  <a:lnTo>
                    <a:pt x="170" y="76"/>
                  </a:lnTo>
                  <a:lnTo>
                    <a:pt x="168" y="72"/>
                  </a:lnTo>
                  <a:lnTo>
                    <a:pt x="166" y="65"/>
                  </a:lnTo>
                  <a:lnTo>
                    <a:pt x="165" y="6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55"/>
                  </a:lnTo>
                  <a:lnTo>
                    <a:pt x="1" y="559"/>
                  </a:lnTo>
                  <a:lnTo>
                    <a:pt x="1" y="562"/>
                  </a:lnTo>
                  <a:lnTo>
                    <a:pt x="3" y="564"/>
                  </a:lnTo>
                  <a:lnTo>
                    <a:pt x="4" y="566"/>
                  </a:lnTo>
                  <a:lnTo>
                    <a:pt x="6" y="568"/>
                  </a:lnTo>
                  <a:lnTo>
                    <a:pt x="9" y="569"/>
                  </a:lnTo>
                  <a:lnTo>
                    <a:pt x="11" y="570"/>
                  </a:lnTo>
                  <a:lnTo>
                    <a:pt x="15" y="570"/>
                  </a:lnTo>
                  <a:lnTo>
                    <a:pt x="706" y="570"/>
                  </a:lnTo>
                  <a:lnTo>
                    <a:pt x="709" y="570"/>
                  </a:lnTo>
                  <a:lnTo>
                    <a:pt x="713" y="569"/>
                  </a:lnTo>
                  <a:lnTo>
                    <a:pt x="715" y="568"/>
                  </a:lnTo>
                  <a:lnTo>
                    <a:pt x="717" y="566"/>
                  </a:lnTo>
                  <a:lnTo>
                    <a:pt x="719" y="564"/>
                  </a:lnTo>
                  <a:lnTo>
                    <a:pt x="720" y="562"/>
                  </a:lnTo>
                  <a:lnTo>
                    <a:pt x="721" y="559"/>
                  </a:lnTo>
                  <a:lnTo>
                    <a:pt x="721" y="555"/>
                  </a:lnTo>
                  <a:lnTo>
                    <a:pt x="721" y="15"/>
                  </a:lnTo>
                  <a:lnTo>
                    <a:pt x="721" y="12"/>
                  </a:lnTo>
                  <a:lnTo>
                    <a:pt x="720" y="9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3" y="1"/>
                  </a:lnTo>
                  <a:lnTo>
                    <a:pt x="709" y="0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134"/>
            <p:cNvSpPr>
              <a:spLocks/>
            </p:cNvSpPr>
            <p:nvPr/>
          </p:nvSpPr>
          <p:spPr bwMode="auto">
            <a:xfrm>
              <a:off x="10521950" y="1382713"/>
              <a:ext cx="115888" cy="128588"/>
            </a:xfrm>
            <a:custGeom>
              <a:avLst/>
              <a:gdLst>
                <a:gd name="T0" fmla="*/ 0 w 361"/>
                <a:gd name="T1" fmla="*/ 391 h 406"/>
                <a:gd name="T2" fmla="*/ 2 w 361"/>
                <a:gd name="T3" fmla="*/ 396 h 406"/>
                <a:gd name="T4" fmla="*/ 5 w 361"/>
                <a:gd name="T5" fmla="*/ 402 h 406"/>
                <a:gd name="T6" fmla="*/ 9 w 361"/>
                <a:gd name="T7" fmla="*/ 405 h 406"/>
                <a:gd name="T8" fmla="*/ 15 w 361"/>
                <a:gd name="T9" fmla="*/ 406 h 406"/>
                <a:gd name="T10" fmla="*/ 21 w 361"/>
                <a:gd name="T11" fmla="*/ 405 h 406"/>
                <a:gd name="T12" fmla="*/ 26 w 361"/>
                <a:gd name="T13" fmla="*/ 402 h 406"/>
                <a:gd name="T14" fmla="*/ 29 w 361"/>
                <a:gd name="T15" fmla="*/ 396 h 406"/>
                <a:gd name="T16" fmla="*/ 30 w 361"/>
                <a:gd name="T17" fmla="*/ 391 h 406"/>
                <a:gd name="T18" fmla="*/ 30 w 361"/>
                <a:gd name="T19" fmla="*/ 169 h 406"/>
                <a:gd name="T20" fmla="*/ 34 w 361"/>
                <a:gd name="T21" fmla="*/ 140 h 406"/>
                <a:gd name="T22" fmla="*/ 44 w 361"/>
                <a:gd name="T23" fmla="*/ 113 h 406"/>
                <a:gd name="T24" fmla="*/ 59 w 361"/>
                <a:gd name="T25" fmla="*/ 89 h 406"/>
                <a:gd name="T26" fmla="*/ 80 w 361"/>
                <a:gd name="T27" fmla="*/ 67 h 406"/>
                <a:gd name="T28" fmla="*/ 105 w 361"/>
                <a:gd name="T29" fmla="*/ 50 h 406"/>
                <a:gd name="T30" fmla="*/ 132 w 361"/>
                <a:gd name="T31" fmla="*/ 37 h 406"/>
                <a:gd name="T32" fmla="*/ 162 w 361"/>
                <a:gd name="T33" fmla="*/ 31 h 406"/>
                <a:gd name="T34" fmla="*/ 179 w 361"/>
                <a:gd name="T35" fmla="*/ 30 h 406"/>
                <a:gd name="T36" fmla="*/ 191 w 361"/>
                <a:gd name="T37" fmla="*/ 31 h 406"/>
                <a:gd name="T38" fmla="*/ 213 w 361"/>
                <a:gd name="T39" fmla="*/ 34 h 406"/>
                <a:gd name="T40" fmla="*/ 226 w 361"/>
                <a:gd name="T41" fmla="*/ 37 h 406"/>
                <a:gd name="T42" fmla="*/ 236 w 361"/>
                <a:gd name="T43" fmla="*/ 41 h 406"/>
                <a:gd name="T44" fmla="*/ 253 w 361"/>
                <a:gd name="T45" fmla="*/ 48 h 406"/>
                <a:gd name="T46" fmla="*/ 269 w 361"/>
                <a:gd name="T47" fmla="*/ 59 h 406"/>
                <a:gd name="T48" fmla="*/ 284 w 361"/>
                <a:gd name="T49" fmla="*/ 71 h 406"/>
                <a:gd name="T50" fmla="*/ 291 w 361"/>
                <a:gd name="T51" fmla="*/ 77 h 406"/>
                <a:gd name="T52" fmla="*/ 301 w 361"/>
                <a:gd name="T53" fmla="*/ 89 h 406"/>
                <a:gd name="T54" fmla="*/ 316 w 361"/>
                <a:gd name="T55" fmla="*/ 113 h 406"/>
                <a:gd name="T56" fmla="*/ 327 w 361"/>
                <a:gd name="T57" fmla="*/ 141 h 406"/>
                <a:gd name="T58" fmla="*/ 331 w 361"/>
                <a:gd name="T59" fmla="*/ 170 h 406"/>
                <a:gd name="T60" fmla="*/ 331 w 361"/>
                <a:gd name="T61" fmla="*/ 331 h 406"/>
                <a:gd name="T62" fmla="*/ 331 w 361"/>
                <a:gd name="T63" fmla="*/ 393 h 406"/>
                <a:gd name="T64" fmla="*/ 333 w 361"/>
                <a:gd name="T65" fmla="*/ 399 h 406"/>
                <a:gd name="T66" fmla="*/ 337 w 361"/>
                <a:gd name="T67" fmla="*/ 403 h 406"/>
                <a:gd name="T68" fmla="*/ 343 w 361"/>
                <a:gd name="T69" fmla="*/ 405 h 406"/>
                <a:gd name="T70" fmla="*/ 349 w 361"/>
                <a:gd name="T71" fmla="*/ 405 h 406"/>
                <a:gd name="T72" fmla="*/ 355 w 361"/>
                <a:gd name="T73" fmla="*/ 403 h 406"/>
                <a:gd name="T74" fmla="*/ 359 w 361"/>
                <a:gd name="T75" fmla="*/ 400 h 406"/>
                <a:gd name="T76" fmla="*/ 361 w 361"/>
                <a:gd name="T77" fmla="*/ 394 h 406"/>
                <a:gd name="T78" fmla="*/ 361 w 361"/>
                <a:gd name="T79" fmla="*/ 186 h 406"/>
                <a:gd name="T80" fmla="*/ 360 w 361"/>
                <a:gd name="T81" fmla="*/ 158 h 406"/>
                <a:gd name="T82" fmla="*/ 355 w 361"/>
                <a:gd name="T83" fmla="*/ 132 h 406"/>
                <a:gd name="T84" fmla="*/ 346 w 361"/>
                <a:gd name="T85" fmla="*/ 106 h 406"/>
                <a:gd name="T86" fmla="*/ 332 w 361"/>
                <a:gd name="T87" fmla="*/ 82 h 406"/>
                <a:gd name="T88" fmla="*/ 313 w 361"/>
                <a:gd name="T89" fmla="*/ 57 h 406"/>
                <a:gd name="T90" fmla="*/ 285 w 361"/>
                <a:gd name="T91" fmla="*/ 33 h 406"/>
                <a:gd name="T92" fmla="*/ 254 w 361"/>
                <a:gd name="T93" fmla="*/ 16 h 406"/>
                <a:gd name="T94" fmla="*/ 220 w 361"/>
                <a:gd name="T95" fmla="*/ 4 h 406"/>
                <a:gd name="T96" fmla="*/ 184 w 361"/>
                <a:gd name="T97" fmla="*/ 0 h 406"/>
                <a:gd name="T98" fmla="*/ 180 w 361"/>
                <a:gd name="T99" fmla="*/ 0 h 406"/>
                <a:gd name="T100" fmla="*/ 173 w 361"/>
                <a:gd name="T101" fmla="*/ 0 h 406"/>
                <a:gd name="T102" fmla="*/ 138 w 361"/>
                <a:gd name="T103" fmla="*/ 5 h 406"/>
                <a:gd name="T104" fmla="*/ 105 w 361"/>
                <a:gd name="T105" fmla="*/ 16 h 406"/>
                <a:gd name="T106" fmla="*/ 74 w 361"/>
                <a:gd name="T107" fmla="*/ 34 h 406"/>
                <a:gd name="T108" fmla="*/ 47 w 361"/>
                <a:gd name="T109" fmla="*/ 57 h 406"/>
                <a:gd name="T110" fmla="*/ 26 w 361"/>
                <a:gd name="T111" fmla="*/ 86 h 406"/>
                <a:gd name="T112" fmla="*/ 11 w 361"/>
                <a:gd name="T113" fmla="*/ 117 h 406"/>
                <a:gd name="T114" fmla="*/ 2 w 361"/>
                <a:gd name="T115" fmla="*/ 151 h 406"/>
                <a:gd name="T116" fmla="*/ 0 w 361"/>
                <a:gd name="T117" fmla="*/ 185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1" h="406">
                  <a:moveTo>
                    <a:pt x="0" y="331"/>
                  </a:moveTo>
                  <a:lnTo>
                    <a:pt x="0" y="391"/>
                  </a:lnTo>
                  <a:lnTo>
                    <a:pt x="1" y="393"/>
                  </a:lnTo>
                  <a:lnTo>
                    <a:pt x="2" y="396"/>
                  </a:lnTo>
                  <a:lnTo>
                    <a:pt x="3" y="399"/>
                  </a:lnTo>
                  <a:lnTo>
                    <a:pt x="5" y="402"/>
                  </a:lnTo>
                  <a:lnTo>
                    <a:pt x="7" y="403"/>
                  </a:lnTo>
                  <a:lnTo>
                    <a:pt x="9" y="405"/>
                  </a:lnTo>
                  <a:lnTo>
                    <a:pt x="13" y="405"/>
                  </a:lnTo>
                  <a:lnTo>
                    <a:pt x="15" y="406"/>
                  </a:lnTo>
                  <a:lnTo>
                    <a:pt x="18" y="405"/>
                  </a:lnTo>
                  <a:lnTo>
                    <a:pt x="21" y="405"/>
                  </a:lnTo>
                  <a:lnTo>
                    <a:pt x="23" y="403"/>
                  </a:lnTo>
                  <a:lnTo>
                    <a:pt x="26" y="402"/>
                  </a:lnTo>
                  <a:lnTo>
                    <a:pt x="28" y="400"/>
                  </a:lnTo>
                  <a:lnTo>
                    <a:pt x="29" y="396"/>
                  </a:lnTo>
                  <a:lnTo>
                    <a:pt x="30" y="394"/>
                  </a:lnTo>
                  <a:lnTo>
                    <a:pt x="30" y="391"/>
                  </a:lnTo>
                  <a:lnTo>
                    <a:pt x="30" y="184"/>
                  </a:lnTo>
                  <a:lnTo>
                    <a:pt x="30" y="169"/>
                  </a:lnTo>
                  <a:lnTo>
                    <a:pt x="32" y="155"/>
                  </a:lnTo>
                  <a:lnTo>
                    <a:pt x="34" y="140"/>
                  </a:lnTo>
                  <a:lnTo>
                    <a:pt x="38" y="127"/>
                  </a:lnTo>
                  <a:lnTo>
                    <a:pt x="44" y="113"/>
                  </a:lnTo>
                  <a:lnTo>
                    <a:pt x="51" y="101"/>
                  </a:lnTo>
                  <a:lnTo>
                    <a:pt x="59" y="89"/>
                  </a:lnTo>
                  <a:lnTo>
                    <a:pt x="68" y="78"/>
                  </a:lnTo>
                  <a:lnTo>
                    <a:pt x="80" y="67"/>
                  </a:lnTo>
                  <a:lnTo>
                    <a:pt x="92" y="58"/>
                  </a:lnTo>
                  <a:lnTo>
                    <a:pt x="105" y="50"/>
                  </a:lnTo>
                  <a:lnTo>
                    <a:pt x="118" y="43"/>
                  </a:lnTo>
                  <a:lnTo>
                    <a:pt x="132" y="37"/>
                  </a:lnTo>
                  <a:lnTo>
                    <a:pt x="147" y="34"/>
                  </a:lnTo>
                  <a:lnTo>
                    <a:pt x="162" y="31"/>
                  </a:lnTo>
                  <a:lnTo>
                    <a:pt x="177" y="30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91" y="31"/>
                  </a:lnTo>
                  <a:lnTo>
                    <a:pt x="200" y="32"/>
                  </a:lnTo>
                  <a:lnTo>
                    <a:pt x="213" y="34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36" y="41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1" y="53"/>
                  </a:lnTo>
                  <a:lnTo>
                    <a:pt x="269" y="59"/>
                  </a:lnTo>
                  <a:lnTo>
                    <a:pt x="276" y="64"/>
                  </a:lnTo>
                  <a:lnTo>
                    <a:pt x="284" y="71"/>
                  </a:lnTo>
                  <a:lnTo>
                    <a:pt x="290" y="77"/>
                  </a:lnTo>
                  <a:lnTo>
                    <a:pt x="291" y="77"/>
                  </a:lnTo>
                  <a:lnTo>
                    <a:pt x="291" y="78"/>
                  </a:lnTo>
                  <a:lnTo>
                    <a:pt x="301" y="89"/>
                  </a:lnTo>
                  <a:lnTo>
                    <a:pt x="310" y="102"/>
                  </a:lnTo>
                  <a:lnTo>
                    <a:pt x="316" y="113"/>
                  </a:lnTo>
                  <a:lnTo>
                    <a:pt x="322" y="127"/>
                  </a:lnTo>
                  <a:lnTo>
                    <a:pt x="327" y="141"/>
                  </a:lnTo>
                  <a:lnTo>
                    <a:pt x="329" y="155"/>
                  </a:lnTo>
                  <a:lnTo>
                    <a:pt x="331" y="170"/>
                  </a:lnTo>
                  <a:lnTo>
                    <a:pt x="331" y="185"/>
                  </a:lnTo>
                  <a:lnTo>
                    <a:pt x="331" y="331"/>
                  </a:lnTo>
                  <a:lnTo>
                    <a:pt x="331" y="391"/>
                  </a:lnTo>
                  <a:lnTo>
                    <a:pt x="331" y="393"/>
                  </a:lnTo>
                  <a:lnTo>
                    <a:pt x="332" y="396"/>
                  </a:lnTo>
                  <a:lnTo>
                    <a:pt x="333" y="399"/>
                  </a:lnTo>
                  <a:lnTo>
                    <a:pt x="335" y="402"/>
                  </a:lnTo>
                  <a:lnTo>
                    <a:pt x="337" y="403"/>
                  </a:lnTo>
                  <a:lnTo>
                    <a:pt x="340" y="405"/>
                  </a:lnTo>
                  <a:lnTo>
                    <a:pt x="343" y="405"/>
                  </a:lnTo>
                  <a:lnTo>
                    <a:pt x="346" y="406"/>
                  </a:lnTo>
                  <a:lnTo>
                    <a:pt x="349" y="405"/>
                  </a:lnTo>
                  <a:lnTo>
                    <a:pt x="351" y="405"/>
                  </a:lnTo>
                  <a:lnTo>
                    <a:pt x="355" y="403"/>
                  </a:lnTo>
                  <a:lnTo>
                    <a:pt x="357" y="402"/>
                  </a:lnTo>
                  <a:lnTo>
                    <a:pt x="359" y="400"/>
                  </a:lnTo>
                  <a:lnTo>
                    <a:pt x="360" y="396"/>
                  </a:lnTo>
                  <a:lnTo>
                    <a:pt x="361" y="394"/>
                  </a:lnTo>
                  <a:lnTo>
                    <a:pt x="361" y="391"/>
                  </a:lnTo>
                  <a:lnTo>
                    <a:pt x="361" y="186"/>
                  </a:lnTo>
                  <a:lnTo>
                    <a:pt x="361" y="172"/>
                  </a:lnTo>
                  <a:lnTo>
                    <a:pt x="360" y="158"/>
                  </a:lnTo>
                  <a:lnTo>
                    <a:pt x="358" y="145"/>
                  </a:lnTo>
                  <a:lnTo>
                    <a:pt x="355" y="132"/>
                  </a:lnTo>
                  <a:lnTo>
                    <a:pt x="351" y="119"/>
                  </a:lnTo>
                  <a:lnTo>
                    <a:pt x="346" y="106"/>
                  </a:lnTo>
                  <a:lnTo>
                    <a:pt x="340" y="94"/>
                  </a:lnTo>
                  <a:lnTo>
                    <a:pt x="332" y="82"/>
                  </a:lnTo>
                  <a:lnTo>
                    <a:pt x="323" y="68"/>
                  </a:lnTo>
                  <a:lnTo>
                    <a:pt x="313" y="57"/>
                  </a:lnTo>
                  <a:lnTo>
                    <a:pt x="300" y="44"/>
                  </a:lnTo>
                  <a:lnTo>
                    <a:pt x="285" y="33"/>
                  </a:lnTo>
                  <a:lnTo>
                    <a:pt x="270" y="23"/>
                  </a:lnTo>
                  <a:lnTo>
                    <a:pt x="254" y="16"/>
                  </a:lnTo>
                  <a:lnTo>
                    <a:pt x="237" y="9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0" y="0"/>
                  </a:lnTo>
                  <a:lnTo>
                    <a:pt x="177" y="0"/>
                  </a:lnTo>
                  <a:lnTo>
                    <a:pt x="173" y="0"/>
                  </a:lnTo>
                  <a:lnTo>
                    <a:pt x="155" y="2"/>
                  </a:lnTo>
                  <a:lnTo>
                    <a:pt x="138" y="5"/>
                  </a:lnTo>
                  <a:lnTo>
                    <a:pt x="121" y="9"/>
                  </a:lnTo>
                  <a:lnTo>
                    <a:pt x="105" y="16"/>
                  </a:lnTo>
                  <a:lnTo>
                    <a:pt x="89" y="24"/>
                  </a:lnTo>
                  <a:lnTo>
                    <a:pt x="74" y="34"/>
                  </a:lnTo>
                  <a:lnTo>
                    <a:pt x="60" y="45"/>
                  </a:lnTo>
                  <a:lnTo>
                    <a:pt x="47" y="57"/>
                  </a:lnTo>
                  <a:lnTo>
                    <a:pt x="35" y="71"/>
                  </a:lnTo>
                  <a:lnTo>
                    <a:pt x="26" y="86"/>
                  </a:lnTo>
                  <a:lnTo>
                    <a:pt x="17" y="101"/>
                  </a:lnTo>
                  <a:lnTo>
                    <a:pt x="11" y="117"/>
                  </a:lnTo>
                  <a:lnTo>
                    <a:pt x="5" y="134"/>
                  </a:lnTo>
                  <a:lnTo>
                    <a:pt x="2" y="151"/>
                  </a:lnTo>
                  <a:lnTo>
                    <a:pt x="0" y="168"/>
                  </a:lnTo>
                  <a:lnTo>
                    <a:pt x="0" y="185"/>
                  </a:lnTo>
                  <a:lnTo>
                    <a:pt x="0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35"/>
            <p:cNvSpPr>
              <a:spLocks/>
            </p:cNvSpPr>
            <p:nvPr/>
          </p:nvSpPr>
          <p:spPr bwMode="auto">
            <a:xfrm>
              <a:off x="10656888" y="1398588"/>
              <a:ext cx="74613" cy="79375"/>
            </a:xfrm>
            <a:custGeom>
              <a:avLst/>
              <a:gdLst>
                <a:gd name="T0" fmla="*/ 230 w 235"/>
                <a:gd name="T1" fmla="*/ 85 h 250"/>
                <a:gd name="T2" fmla="*/ 150 w 235"/>
                <a:gd name="T3" fmla="*/ 5 h 250"/>
                <a:gd name="T4" fmla="*/ 148 w 235"/>
                <a:gd name="T5" fmla="*/ 2 h 250"/>
                <a:gd name="T6" fmla="*/ 145 w 235"/>
                <a:gd name="T7" fmla="*/ 1 h 250"/>
                <a:gd name="T8" fmla="*/ 142 w 235"/>
                <a:gd name="T9" fmla="*/ 0 h 250"/>
                <a:gd name="T10" fmla="*/ 138 w 235"/>
                <a:gd name="T11" fmla="*/ 0 h 250"/>
                <a:gd name="T12" fmla="*/ 135 w 235"/>
                <a:gd name="T13" fmla="*/ 0 h 250"/>
                <a:gd name="T14" fmla="*/ 133 w 235"/>
                <a:gd name="T15" fmla="*/ 1 h 250"/>
                <a:gd name="T16" fmla="*/ 130 w 235"/>
                <a:gd name="T17" fmla="*/ 2 h 250"/>
                <a:gd name="T18" fmla="*/ 128 w 235"/>
                <a:gd name="T19" fmla="*/ 5 h 250"/>
                <a:gd name="T20" fmla="*/ 3 w 235"/>
                <a:gd name="T21" fmla="*/ 149 h 250"/>
                <a:gd name="T22" fmla="*/ 1 w 235"/>
                <a:gd name="T23" fmla="*/ 155 h 250"/>
                <a:gd name="T24" fmla="*/ 0 w 235"/>
                <a:gd name="T25" fmla="*/ 159 h 250"/>
                <a:gd name="T26" fmla="*/ 0 w 235"/>
                <a:gd name="T27" fmla="*/ 235 h 250"/>
                <a:gd name="T28" fmla="*/ 0 w 235"/>
                <a:gd name="T29" fmla="*/ 237 h 250"/>
                <a:gd name="T30" fmla="*/ 1 w 235"/>
                <a:gd name="T31" fmla="*/ 240 h 250"/>
                <a:gd name="T32" fmla="*/ 2 w 235"/>
                <a:gd name="T33" fmla="*/ 243 h 250"/>
                <a:gd name="T34" fmla="*/ 4 w 235"/>
                <a:gd name="T35" fmla="*/ 245 h 250"/>
                <a:gd name="T36" fmla="*/ 6 w 235"/>
                <a:gd name="T37" fmla="*/ 247 h 250"/>
                <a:gd name="T38" fmla="*/ 10 w 235"/>
                <a:gd name="T39" fmla="*/ 248 h 250"/>
                <a:gd name="T40" fmla="*/ 12 w 235"/>
                <a:gd name="T41" fmla="*/ 249 h 250"/>
                <a:gd name="T42" fmla="*/ 15 w 235"/>
                <a:gd name="T43" fmla="*/ 250 h 250"/>
                <a:gd name="T44" fmla="*/ 90 w 235"/>
                <a:gd name="T45" fmla="*/ 250 h 250"/>
                <a:gd name="T46" fmla="*/ 93 w 235"/>
                <a:gd name="T47" fmla="*/ 249 h 250"/>
                <a:gd name="T48" fmla="*/ 96 w 235"/>
                <a:gd name="T49" fmla="*/ 248 h 250"/>
                <a:gd name="T50" fmla="*/ 99 w 235"/>
                <a:gd name="T51" fmla="*/ 247 h 250"/>
                <a:gd name="T52" fmla="*/ 101 w 235"/>
                <a:gd name="T53" fmla="*/ 245 h 250"/>
                <a:gd name="T54" fmla="*/ 230 w 235"/>
                <a:gd name="T55" fmla="*/ 105 h 250"/>
                <a:gd name="T56" fmla="*/ 233 w 235"/>
                <a:gd name="T57" fmla="*/ 103 h 250"/>
                <a:gd name="T58" fmla="*/ 234 w 235"/>
                <a:gd name="T59" fmla="*/ 101 h 250"/>
                <a:gd name="T60" fmla="*/ 235 w 235"/>
                <a:gd name="T61" fmla="*/ 98 h 250"/>
                <a:gd name="T62" fmla="*/ 235 w 235"/>
                <a:gd name="T63" fmla="*/ 95 h 250"/>
                <a:gd name="T64" fmla="*/ 235 w 235"/>
                <a:gd name="T65" fmla="*/ 92 h 250"/>
                <a:gd name="T66" fmla="*/ 234 w 235"/>
                <a:gd name="T67" fmla="*/ 89 h 250"/>
                <a:gd name="T68" fmla="*/ 233 w 235"/>
                <a:gd name="T69" fmla="*/ 87 h 250"/>
                <a:gd name="T70" fmla="*/ 230 w 235"/>
                <a:gd name="T71" fmla="*/ 8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5" h="250">
                  <a:moveTo>
                    <a:pt x="230" y="85"/>
                  </a:moveTo>
                  <a:lnTo>
                    <a:pt x="150" y="5"/>
                  </a:lnTo>
                  <a:lnTo>
                    <a:pt x="148" y="2"/>
                  </a:lnTo>
                  <a:lnTo>
                    <a:pt x="145" y="1"/>
                  </a:lnTo>
                  <a:lnTo>
                    <a:pt x="142" y="0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33" y="1"/>
                  </a:lnTo>
                  <a:lnTo>
                    <a:pt x="130" y="2"/>
                  </a:lnTo>
                  <a:lnTo>
                    <a:pt x="128" y="5"/>
                  </a:lnTo>
                  <a:lnTo>
                    <a:pt x="3" y="149"/>
                  </a:lnTo>
                  <a:lnTo>
                    <a:pt x="1" y="155"/>
                  </a:lnTo>
                  <a:lnTo>
                    <a:pt x="0" y="159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" y="245"/>
                  </a:lnTo>
                  <a:lnTo>
                    <a:pt x="6" y="247"/>
                  </a:lnTo>
                  <a:lnTo>
                    <a:pt x="10" y="248"/>
                  </a:lnTo>
                  <a:lnTo>
                    <a:pt x="12" y="249"/>
                  </a:lnTo>
                  <a:lnTo>
                    <a:pt x="15" y="250"/>
                  </a:lnTo>
                  <a:lnTo>
                    <a:pt x="90" y="250"/>
                  </a:lnTo>
                  <a:lnTo>
                    <a:pt x="93" y="249"/>
                  </a:lnTo>
                  <a:lnTo>
                    <a:pt x="96" y="248"/>
                  </a:lnTo>
                  <a:lnTo>
                    <a:pt x="99" y="247"/>
                  </a:lnTo>
                  <a:lnTo>
                    <a:pt x="101" y="245"/>
                  </a:lnTo>
                  <a:lnTo>
                    <a:pt x="230" y="105"/>
                  </a:lnTo>
                  <a:lnTo>
                    <a:pt x="233" y="103"/>
                  </a:lnTo>
                  <a:lnTo>
                    <a:pt x="234" y="101"/>
                  </a:lnTo>
                  <a:lnTo>
                    <a:pt x="235" y="98"/>
                  </a:lnTo>
                  <a:lnTo>
                    <a:pt x="235" y="95"/>
                  </a:lnTo>
                  <a:lnTo>
                    <a:pt x="235" y="92"/>
                  </a:lnTo>
                  <a:lnTo>
                    <a:pt x="234" y="89"/>
                  </a:lnTo>
                  <a:lnTo>
                    <a:pt x="233" y="87"/>
                  </a:lnTo>
                  <a:lnTo>
                    <a:pt x="23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2831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PROCESS GEAR</a:t>
            </a: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2204177" y="2756551"/>
            <a:ext cx="2027544" cy="2023190"/>
            <a:chOff x="1437462" y="2610442"/>
            <a:chExt cx="1834854" cy="1830914"/>
          </a:xfrm>
        </p:grpSpPr>
        <p:sp>
          <p:nvSpPr>
            <p:cNvPr id="238" name="Freeform 84"/>
            <p:cNvSpPr>
              <a:spLocks/>
            </p:cNvSpPr>
            <p:nvPr/>
          </p:nvSpPr>
          <p:spPr bwMode="auto">
            <a:xfrm>
              <a:off x="1437462" y="2610442"/>
              <a:ext cx="1834854" cy="183091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ffectLst>
              <a:outerShdw blurRad="50800" dist="25400" dir="10800000" algn="r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87"/>
            <p:cNvSpPr>
              <a:spLocks noChangeArrowheads="1"/>
            </p:cNvSpPr>
            <p:nvPr/>
          </p:nvSpPr>
          <p:spPr bwMode="auto">
            <a:xfrm>
              <a:off x="1710450" y="2882255"/>
              <a:ext cx="1288877" cy="1287287"/>
            </a:xfrm>
            <a:prstGeom prst="ellipse">
              <a:avLst/>
            </a:prstGeom>
            <a:solidFill>
              <a:srgbClr val="015685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Oval 87"/>
            <p:cNvSpPr>
              <a:spLocks noChangeArrowheads="1"/>
            </p:cNvSpPr>
            <p:nvPr/>
          </p:nvSpPr>
          <p:spPr bwMode="auto">
            <a:xfrm>
              <a:off x="1822295" y="2993961"/>
              <a:ext cx="1065187" cy="106387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Arc 125"/>
          <p:cNvSpPr>
            <a:spLocks noChangeArrowheads="1"/>
          </p:cNvSpPr>
          <p:nvPr/>
        </p:nvSpPr>
        <p:spPr bwMode="auto">
          <a:xfrm>
            <a:off x="1956393" y="2508147"/>
            <a:ext cx="2523113" cy="2520000"/>
          </a:xfrm>
          <a:prstGeom prst="arc">
            <a:avLst>
              <a:gd name="adj1" fmla="val 13742682"/>
              <a:gd name="adj2" fmla="val 18423165"/>
            </a:avLst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7" name="Group 126"/>
          <p:cNvGrpSpPr/>
          <p:nvPr/>
        </p:nvGrpSpPr>
        <p:grpSpPr>
          <a:xfrm>
            <a:off x="3643202" y="2756552"/>
            <a:ext cx="2027545" cy="2023190"/>
            <a:chOff x="1437463" y="2610443"/>
            <a:chExt cx="1834855" cy="1830914"/>
          </a:xfrm>
        </p:grpSpPr>
        <p:sp>
          <p:nvSpPr>
            <p:cNvPr id="235" name="Freeform 84"/>
            <p:cNvSpPr>
              <a:spLocks/>
            </p:cNvSpPr>
            <p:nvPr/>
          </p:nvSpPr>
          <p:spPr bwMode="auto">
            <a:xfrm>
              <a:off x="1437463" y="2610443"/>
              <a:ext cx="1834855" cy="183091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ffectLst>
              <a:outerShdw blurRad="50800" dist="25400" dir="10800000" algn="r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Oval 87"/>
            <p:cNvSpPr>
              <a:spLocks noChangeArrowheads="1"/>
            </p:cNvSpPr>
            <p:nvPr/>
          </p:nvSpPr>
          <p:spPr bwMode="auto">
            <a:xfrm>
              <a:off x="1710450" y="2882256"/>
              <a:ext cx="1288877" cy="1287287"/>
            </a:xfrm>
            <a:prstGeom prst="ellipse">
              <a:avLst/>
            </a:prstGeom>
            <a:solidFill>
              <a:srgbClr val="38906C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87"/>
            <p:cNvSpPr>
              <a:spLocks noChangeArrowheads="1"/>
            </p:cNvSpPr>
            <p:nvPr/>
          </p:nvSpPr>
          <p:spPr bwMode="auto">
            <a:xfrm>
              <a:off x="1822295" y="2993961"/>
              <a:ext cx="1065187" cy="106387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5082227" y="2756551"/>
            <a:ext cx="2027544" cy="2023190"/>
            <a:chOff x="1437462" y="2610442"/>
            <a:chExt cx="1834854" cy="1830914"/>
          </a:xfrm>
        </p:grpSpPr>
        <p:sp>
          <p:nvSpPr>
            <p:cNvPr id="232" name="Freeform 84"/>
            <p:cNvSpPr>
              <a:spLocks/>
            </p:cNvSpPr>
            <p:nvPr/>
          </p:nvSpPr>
          <p:spPr bwMode="auto">
            <a:xfrm>
              <a:off x="1437462" y="2610442"/>
              <a:ext cx="1834854" cy="183091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ffectLst>
              <a:outerShdw blurRad="50800" dist="25400" dir="10800000" algn="r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Oval 87"/>
            <p:cNvSpPr>
              <a:spLocks noChangeArrowheads="1"/>
            </p:cNvSpPr>
            <p:nvPr/>
          </p:nvSpPr>
          <p:spPr bwMode="auto">
            <a:xfrm>
              <a:off x="1710450" y="2882255"/>
              <a:ext cx="1288877" cy="1287287"/>
            </a:xfrm>
            <a:prstGeom prst="ellipse">
              <a:avLst/>
            </a:prstGeom>
            <a:solidFill>
              <a:srgbClr val="FE8D2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Oval 87"/>
            <p:cNvSpPr>
              <a:spLocks noChangeArrowheads="1"/>
            </p:cNvSpPr>
            <p:nvPr/>
          </p:nvSpPr>
          <p:spPr bwMode="auto">
            <a:xfrm>
              <a:off x="1822295" y="2993961"/>
              <a:ext cx="1065187" cy="106387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6521252" y="2756551"/>
            <a:ext cx="2027544" cy="2023190"/>
            <a:chOff x="1437462" y="2610442"/>
            <a:chExt cx="1834854" cy="1830914"/>
          </a:xfrm>
        </p:grpSpPr>
        <p:sp>
          <p:nvSpPr>
            <p:cNvPr id="229" name="Freeform 84"/>
            <p:cNvSpPr>
              <a:spLocks/>
            </p:cNvSpPr>
            <p:nvPr/>
          </p:nvSpPr>
          <p:spPr bwMode="auto">
            <a:xfrm>
              <a:off x="1437462" y="2610442"/>
              <a:ext cx="1834854" cy="183091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ffectLst>
              <a:outerShdw blurRad="50800" dist="25400" dir="10800000" algn="r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Oval 87"/>
            <p:cNvSpPr>
              <a:spLocks noChangeArrowheads="1"/>
            </p:cNvSpPr>
            <p:nvPr/>
          </p:nvSpPr>
          <p:spPr bwMode="auto">
            <a:xfrm>
              <a:off x="1710450" y="2882255"/>
              <a:ext cx="1288877" cy="1287287"/>
            </a:xfrm>
            <a:prstGeom prst="ellipse">
              <a:avLst/>
            </a:prstGeom>
            <a:solidFill>
              <a:srgbClr val="7C7C7C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Oval 87"/>
            <p:cNvSpPr>
              <a:spLocks noChangeArrowheads="1"/>
            </p:cNvSpPr>
            <p:nvPr/>
          </p:nvSpPr>
          <p:spPr bwMode="auto">
            <a:xfrm>
              <a:off x="1822295" y="2993961"/>
              <a:ext cx="1065187" cy="106387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7960278" y="2756551"/>
            <a:ext cx="2027544" cy="2023190"/>
            <a:chOff x="1437462" y="2610442"/>
            <a:chExt cx="1834854" cy="1830914"/>
          </a:xfrm>
        </p:grpSpPr>
        <p:sp>
          <p:nvSpPr>
            <p:cNvPr id="226" name="Freeform 84"/>
            <p:cNvSpPr>
              <a:spLocks/>
            </p:cNvSpPr>
            <p:nvPr/>
          </p:nvSpPr>
          <p:spPr bwMode="auto">
            <a:xfrm>
              <a:off x="1437462" y="2610442"/>
              <a:ext cx="1834854" cy="1830914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ffectLst>
              <a:outerShdw blurRad="50800" dist="25400" dir="10800000" algn="r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Oval 87"/>
            <p:cNvSpPr>
              <a:spLocks noChangeArrowheads="1"/>
            </p:cNvSpPr>
            <p:nvPr/>
          </p:nvSpPr>
          <p:spPr bwMode="auto">
            <a:xfrm>
              <a:off x="1710450" y="2882255"/>
              <a:ext cx="1288877" cy="1287287"/>
            </a:xfrm>
            <a:prstGeom prst="ellipse">
              <a:avLst/>
            </a:prstGeom>
            <a:solidFill>
              <a:srgbClr val="015685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Oval 87"/>
            <p:cNvSpPr>
              <a:spLocks noChangeArrowheads="1"/>
            </p:cNvSpPr>
            <p:nvPr/>
          </p:nvSpPr>
          <p:spPr bwMode="auto">
            <a:xfrm>
              <a:off x="1822295" y="2993961"/>
              <a:ext cx="1065187" cy="106387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1" name="Arc 130"/>
          <p:cNvSpPr>
            <a:spLocks noChangeArrowheads="1"/>
          </p:cNvSpPr>
          <p:nvPr/>
        </p:nvSpPr>
        <p:spPr bwMode="auto">
          <a:xfrm flipV="1">
            <a:off x="3395418" y="2508147"/>
            <a:ext cx="2523113" cy="2520000"/>
          </a:xfrm>
          <a:prstGeom prst="arc">
            <a:avLst>
              <a:gd name="adj1" fmla="val 13742682"/>
              <a:gd name="adj2" fmla="val 18423165"/>
            </a:avLst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Arc 131"/>
          <p:cNvSpPr>
            <a:spLocks noChangeArrowheads="1"/>
          </p:cNvSpPr>
          <p:nvPr/>
        </p:nvSpPr>
        <p:spPr bwMode="auto">
          <a:xfrm>
            <a:off x="4834443" y="2508147"/>
            <a:ext cx="2523113" cy="2520000"/>
          </a:xfrm>
          <a:prstGeom prst="arc">
            <a:avLst>
              <a:gd name="adj1" fmla="val 13742682"/>
              <a:gd name="adj2" fmla="val 18423165"/>
            </a:avLst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Arc 132"/>
          <p:cNvSpPr>
            <a:spLocks noChangeArrowheads="1"/>
          </p:cNvSpPr>
          <p:nvPr/>
        </p:nvSpPr>
        <p:spPr bwMode="auto">
          <a:xfrm flipV="1">
            <a:off x="6273468" y="2508147"/>
            <a:ext cx="2523113" cy="2520000"/>
          </a:xfrm>
          <a:prstGeom prst="arc">
            <a:avLst>
              <a:gd name="adj1" fmla="val 13742682"/>
              <a:gd name="adj2" fmla="val 18423165"/>
            </a:avLst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Arc 138"/>
          <p:cNvSpPr>
            <a:spLocks noChangeArrowheads="1"/>
          </p:cNvSpPr>
          <p:nvPr/>
        </p:nvSpPr>
        <p:spPr bwMode="auto">
          <a:xfrm>
            <a:off x="7712494" y="2508147"/>
            <a:ext cx="2523113" cy="2520000"/>
          </a:xfrm>
          <a:prstGeom prst="arc">
            <a:avLst>
              <a:gd name="adj1" fmla="val 13742682"/>
              <a:gd name="adj2" fmla="val 18423165"/>
            </a:avLst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40" name="Straight Connector 139"/>
          <p:cNvCxnSpPr/>
          <p:nvPr/>
        </p:nvCxnSpPr>
        <p:spPr>
          <a:xfrm>
            <a:off x="3217949" y="2232292"/>
            <a:ext cx="0" cy="274789"/>
          </a:xfrm>
          <a:prstGeom prst="line">
            <a:avLst/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1" name="Group 140"/>
          <p:cNvGrpSpPr/>
          <p:nvPr/>
        </p:nvGrpSpPr>
        <p:grpSpPr>
          <a:xfrm>
            <a:off x="2352354" y="1479686"/>
            <a:ext cx="1731191" cy="658191"/>
            <a:chOff x="857762" y="1255897"/>
            <a:chExt cx="1731191" cy="658191"/>
          </a:xfrm>
        </p:grpSpPr>
        <p:sp>
          <p:nvSpPr>
            <p:cNvPr id="224" name="TextBox 223"/>
            <p:cNvSpPr txBox="1"/>
            <p:nvPr/>
          </p:nvSpPr>
          <p:spPr>
            <a:xfrm>
              <a:off x="857762" y="1452423"/>
              <a:ext cx="1731191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Lorem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1436584" y="1255897"/>
              <a:ext cx="573546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016AA3"/>
                  </a:solidFill>
                </a:rPr>
                <a:t>STEP 1</a:t>
              </a:r>
              <a:endParaRPr lang="en-US" sz="1200" b="1" dirty="0">
                <a:solidFill>
                  <a:srgbClr val="016AA3"/>
                </a:solidFill>
              </a:endParaRPr>
            </a:p>
          </p:txBody>
        </p:sp>
      </p:grpSp>
      <p:cxnSp>
        <p:nvCxnSpPr>
          <p:cNvPr id="142" name="Straight Connector 141"/>
          <p:cNvCxnSpPr/>
          <p:nvPr/>
        </p:nvCxnSpPr>
        <p:spPr>
          <a:xfrm>
            <a:off x="6095999" y="2232292"/>
            <a:ext cx="0" cy="274789"/>
          </a:xfrm>
          <a:prstGeom prst="line">
            <a:avLst/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" name="Straight Connector 142"/>
          <p:cNvCxnSpPr/>
          <p:nvPr/>
        </p:nvCxnSpPr>
        <p:spPr>
          <a:xfrm>
            <a:off x="8974050" y="2232292"/>
            <a:ext cx="0" cy="274789"/>
          </a:xfrm>
          <a:prstGeom prst="line">
            <a:avLst/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4" name="Straight Connector 143"/>
          <p:cNvCxnSpPr/>
          <p:nvPr/>
        </p:nvCxnSpPr>
        <p:spPr>
          <a:xfrm>
            <a:off x="4656974" y="5028147"/>
            <a:ext cx="0" cy="274789"/>
          </a:xfrm>
          <a:prstGeom prst="line">
            <a:avLst/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5" name="Straight Connector 144"/>
          <p:cNvCxnSpPr/>
          <p:nvPr/>
        </p:nvCxnSpPr>
        <p:spPr>
          <a:xfrm>
            <a:off x="7535024" y="5028147"/>
            <a:ext cx="0" cy="274789"/>
          </a:xfrm>
          <a:prstGeom prst="line">
            <a:avLst/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50" name="Group 149"/>
          <p:cNvGrpSpPr/>
          <p:nvPr/>
        </p:nvGrpSpPr>
        <p:grpSpPr>
          <a:xfrm>
            <a:off x="5230404" y="1479686"/>
            <a:ext cx="1731191" cy="658191"/>
            <a:chOff x="857762" y="1255897"/>
            <a:chExt cx="1731191" cy="658191"/>
          </a:xfrm>
        </p:grpSpPr>
        <p:sp>
          <p:nvSpPr>
            <p:cNvPr id="222" name="TextBox 221"/>
            <p:cNvSpPr txBox="1"/>
            <p:nvPr/>
          </p:nvSpPr>
          <p:spPr>
            <a:xfrm>
              <a:off x="857762" y="1452423"/>
              <a:ext cx="1731191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Lorem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1436584" y="1255897"/>
              <a:ext cx="573546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EA34F"/>
                  </a:solidFill>
                </a:rPr>
                <a:t>STEP 3</a:t>
              </a:r>
              <a:endParaRPr lang="en-US" sz="1200" b="1" dirty="0">
                <a:solidFill>
                  <a:srgbClr val="FEA34F"/>
                </a:solidFill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8108455" y="1479686"/>
            <a:ext cx="1731191" cy="658191"/>
            <a:chOff x="857762" y="1255897"/>
            <a:chExt cx="1731191" cy="658191"/>
          </a:xfrm>
        </p:grpSpPr>
        <p:sp>
          <p:nvSpPr>
            <p:cNvPr id="220" name="TextBox 219"/>
            <p:cNvSpPr txBox="1"/>
            <p:nvPr/>
          </p:nvSpPr>
          <p:spPr>
            <a:xfrm>
              <a:off x="857762" y="1452423"/>
              <a:ext cx="1731191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Lorem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221" name="TextBox 220"/>
            <p:cNvSpPr txBox="1"/>
            <p:nvPr/>
          </p:nvSpPr>
          <p:spPr>
            <a:xfrm>
              <a:off x="1436584" y="1255897"/>
              <a:ext cx="573546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016AA3"/>
                  </a:solidFill>
                </a:rPr>
                <a:t>STEP 5</a:t>
              </a:r>
              <a:endParaRPr lang="en-US" sz="1200" b="1" dirty="0">
                <a:solidFill>
                  <a:srgbClr val="016AA3"/>
                </a:solidFill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791379" y="5398417"/>
            <a:ext cx="1731191" cy="658191"/>
            <a:chOff x="857762" y="1255897"/>
            <a:chExt cx="1731191" cy="658191"/>
          </a:xfrm>
        </p:grpSpPr>
        <p:sp>
          <p:nvSpPr>
            <p:cNvPr id="218" name="TextBox 217"/>
            <p:cNvSpPr txBox="1"/>
            <p:nvPr/>
          </p:nvSpPr>
          <p:spPr>
            <a:xfrm>
              <a:off x="857762" y="1452423"/>
              <a:ext cx="1731191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Lorem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219" name="TextBox 218"/>
            <p:cNvSpPr txBox="1"/>
            <p:nvPr/>
          </p:nvSpPr>
          <p:spPr>
            <a:xfrm>
              <a:off x="1436584" y="1255897"/>
              <a:ext cx="573546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46B688"/>
                  </a:solidFill>
                </a:rPr>
                <a:t>STEP 2</a:t>
              </a:r>
              <a:endParaRPr lang="en-US" sz="1200" b="1" dirty="0">
                <a:solidFill>
                  <a:srgbClr val="46B688"/>
                </a:solidFill>
              </a:endParaRP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6669429" y="5398417"/>
            <a:ext cx="1731191" cy="658191"/>
            <a:chOff x="857762" y="1255897"/>
            <a:chExt cx="1731191" cy="658191"/>
          </a:xfrm>
        </p:grpSpPr>
        <p:sp>
          <p:nvSpPr>
            <p:cNvPr id="216" name="TextBox 215"/>
            <p:cNvSpPr txBox="1"/>
            <p:nvPr/>
          </p:nvSpPr>
          <p:spPr>
            <a:xfrm>
              <a:off x="857762" y="1452423"/>
              <a:ext cx="1731191" cy="46166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Lorem </a:t>
              </a:r>
              <a:r>
                <a:rPr lang="en-US" sz="1000" dirty="0" err="1"/>
                <a:t>Ipsum</a:t>
              </a:r>
              <a:r>
                <a:rPr lang="en-US" sz="1000" dirty="0"/>
                <a:t> is simply dummy text of the printing and typesetting industry. </a:t>
              </a:r>
            </a:p>
          </p:txBody>
        </p:sp>
        <p:sp>
          <p:nvSpPr>
            <p:cNvPr id="217" name="TextBox 216"/>
            <p:cNvSpPr txBox="1"/>
            <p:nvPr/>
          </p:nvSpPr>
          <p:spPr>
            <a:xfrm>
              <a:off x="1436584" y="1255897"/>
              <a:ext cx="573546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AAAAAA"/>
                  </a:solidFill>
                </a:rPr>
                <a:t>STEP 4</a:t>
              </a:r>
              <a:endParaRPr lang="en-US" sz="1200" b="1" dirty="0">
                <a:solidFill>
                  <a:srgbClr val="AAAAAA"/>
                </a:solidFill>
              </a:endParaRPr>
            </a:p>
          </p:txBody>
        </p:sp>
      </p:grpSp>
      <p:sp>
        <p:nvSpPr>
          <p:cNvPr id="241" name="Freeform 1496"/>
          <p:cNvSpPr>
            <a:spLocks noEditPoints="1"/>
          </p:cNvSpPr>
          <p:nvPr/>
        </p:nvSpPr>
        <p:spPr bwMode="auto">
          <a:xfrm>
            <a:off x="3107618" y="3624477"/>
            <a:ext cx="220663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Freeform 3073"/>
          <p:cNvSpPr>
            <a:spLocks noEditPoints="1"/>
          </p:cNvSpPr>
          <p:nvPr/>
        </p:nvSpPr>
        <p:spPr bwMode="auto">
          <a:xfrm>
            <a:off x="4514099" y="3625272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43" name="Group 242"/>
          <p:cNvGrpSpPr/>
          <p:nvPr/>
        </p:nvGrpSpPr>
        <p:grpSpPr>
          <a:xfrm>
            <a:off x="5984082" y="3625271"/>
            <a:ext cx="223837" cy="285750"/>
            <a:chOff x="6469063" y="4656138"/>
            <a:chExt cx="223837" cy="285750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44" name="Freeform 4608"/>
            <p:cNvSpPr>
              <a:spLocks noEditPoints="1"/>
            </p:cNvSpPr>
            <p:nvPr/>
          </p:nvSpPr>
          <p:spPr bwMode="auto">
            <a:xfrm>
              <a:off x="6483350" y="4789488"/>
              <a:ext cx="209550" cy="152400"/>
            </a:xfrm>
            <a:custGeom>
              <a:avLst/>
              <a:gdLst>
                <a:gd name="T0" fmla="*/ 512 w 663"/>
                <a:gd name="T1" fmla="*/ 241 h 482"/>
                <a:gd name="T2" fmla="*/ 542 w 663"/>
                <a:gd name="T3" fmla="*/ 61 h 482"/>
                <a:gd name="T4" fmla="*/ 561 w 663"/>
                <a:gd name="T5" fmla="*/ 62 h 482"/>
                <a:gd name="T6" fmla="*/ 578 w 663"/>
                <a:gd name="T7" fmla="*/ 68 h 482"/>
                <a:gd name="T8" fmla="*/ 594 w 663"/>
                <a:gd name="T9" fmla="*/ 75 h 482"/>
                <a:gd name="T10" fmla="*/ 608 w 663"/>
                <a:gd name="T11" fmla="*/ 86 h 482"/>
                <a:gd name="T12" fmla="*/ 618 w 663"/>
                <a:gd name="T13" fmla="*/ 99 h 482"/>
                <a:gd name="T14" fmla="*/ 626 w 663"/>
                <a:gd name="T15" fmla="*/ 114 h 482"/>
                <a:gd name="T16" fmla="*/ 630 w 663"/>
                <a:gd name="T17" fmla="*/ 132 h 482"/>
                <a:gd name="T18" fmla="*/ 632 w 663"/>
                <a:gd name="T19" fmla="*/ 151 h 482"/>
                <a:gd name="T20" fmla="*/ 630 w 663"/>
                <a:gd name="T21" fmla="*/ 170 h 482"/>
                <a:gd name="T22" fmla="*/ 626 w 663"/>
                <a:gd name="T23" fmla="*/ 187 h 482"/>
                <a:gd name="T24" fmla="*/ 618 w 663"/>
                <a:gd name="T25" fmla="*/ 203 h 482"/>
                <a:gd name="T26" fmla="*/ 608 w 663"/>
                <a:gd name="T27" fmla="*/ 215 h 482"/>
                <a:gd name="T28" fmla="*/ 594 w 663"/>
                <a:gd name="T29" fmla="*/ 227 h 482"/>
                <a:gd name="T30" fmla="*/ 578 w 663"/>
                <a:gd name="T31" fmla="*/ 235 h 482"/>
                <a:gd name="T32" fmla="*/ 561 w 663"/>
                <a:gd name="T33" fmla="*/ 239 h 482"/>
                <a:gd name="T34" fmla="*/ 542 w 663"/>
                <a:gd name="T35" fmla="*/ 241 h 482"/>
                <a:gd name="T36" fmla="*/ 542 w 663"/>
                <a:gd name="T37" fmla="*/ 30 h 482"/>
                <a:gd name="T38" fmla="*/ 512 w 663"/>
                <a:gd name="T39" fmla="*/ 16 h 482"/>
                <a:gd name="T40" fmla="*/ 510 w 663"/>
                <a:gd name="T41" fmla="*/ 10 h 482"/>
                <a:gd name="T42" fmla="*/ 507 w 663"/>
                <a:gd name="T43" fmla="*/ 4 h 482"/>
                <a:gd name="T44" fmla="*/ 503 w 663"/>
                <a:gd name="T45" fmla="*/ 1 h 482"/>
                <a:gd name="T46" fmla="*/ 497 w 663"/>
                <a:gd name="T47" fmla="*/ 0 h 482"/>
                <a:gd name="T48" fmla="*/ 12 w 663"/>
                <a:gd name="T49" fmla="*/ 1 h 482"/>
                <a:gd name="T50" fmla="*/ 7 w 663"/>
                <a:gd name="T51" fmla="*/ 3 h 482"/>
                <a:gd name="T52" fmla="*/ 2 w 663"/>
                <a:gd name="T53" fmla="*/ 7 h 482"/>
                <a:gd name="T54" fmla="*/ 0 w 663"/>
                <a:gd name="T55" fmla="*/ 12 h 482"/>
                <a:gd name="T56" fmla="*/ 0 w 663"/>
                <a:gd name="T57" fmla="*/ 392 h 482"/>
                <a:gd name="T58" fmla="*/ 2 w 663"/>
                <a:gd name="T59" fmla="*/ 410 h 482"/>
                <a:gd name="T60" fmla="*/ 7 w 663"/>
                <a:gd name="T61" fmla="*/ 427 h 482"/>
                <a:gd name="T62" fmla="*/ 15 w 663"/>
                <a:gd name="T63" fmla="*/ 442 h 482"/>
                <a:gd name="T64" fmla="*/ 26 w 663"/>
                <a:gd name="T65" fmla="*/ 456 h 482"/>
                <a:gd name="T66" fmla="*/ 39 w 663"/>
                <a:gd name="T67" fmla="*/ 467 h 482"/>
                <a:gd name="T68" fmla="*/ 55 w 663"/>
                <a:gd name="T69" fmla="*/ 475 h 482"/>
                <a:gd name="T70" fmla="*/ 72 w 663"/>
                <a:gd name="T71" fmla="*/ 480 h 482"/>
                <a:gd name="T72" fmla="*/ 90 w 663"/>
                <a:gd name="T73" fmla="*/ 482 h 482"/>
                <a:gd name="T74" fmla="*/ 431 w 663"/>
                <a:gd name="T75" fmla="*/ 482 h 482"/>
                <a:gd name="T76" fmla="*/ 449 w 663"/>
                <a:gd name="T77" fmla="*/ 477 h 482"/>
                <a:gd name="T78" fmla="*/ 465 w 663"/>
                <a:gd name="T79" fmla="*/ 472 h 482"/>
                <a:gd name="T80" fmla="*/ 480 w 663"/>
                <a:gd name="T81" fmla="*/ 462 h 482"/>
                <a:gd name="T82" fmla="*/ 491 w 663"/>
                <a:gd name="T83" fmla="*/ 449 h 482"/>
                <a:gd name="T84" fmla="*/ 501 w 663"/>
                <a:gd name="T85" fmla="*/ 436 h 482"/>
                <a:gd name="T86" fmla="*/ 508 w 663"/>
                <a:gd name="T87" fmla="*/ 419 h 482"/>
                <a:gd name="T88" fmla="*/ 512 w 663"/>
                <a:gd name="T89" fmla="*/ 401 h 482"/>
                <a:gd name="T90" fmla="*/ 512 w 663"/>
                <a:gd name="T91" fmla="*/ 271 h 482"/>
                <a:gd name="T92" fmla="*/ 554 w 663"/>
                <a:gd name="T93" fmla="*/ 271 h 482"/>
                <a:gd name="T94" fmla="*/ 579 w 663"/>
                <a:gd name="T95" fmla="*/ 266 h 482"/>
                <a:gd name="T96" fmla="*/ 601 w 663"/>
                <a:gd name="T97" fmla="*/ 257 h 482"/>
                <a:gd name="T98" fmla="*/ 620 w 663"/>
                <a:gd name="T99" fmla="*/ 245 h 482"/>
                <a:gd name="T100" fmla="*/ 636 w 663"/>
                <a:gd name="T101" fmla="*/ 229 h 482"/>
                <a:gd name="T102" fmla="*/ 648 w 663"/>
                <a:gd name="T103" fmla="*/ 210 h 482"/>
                <a:gd name="T104" fmla="*/ 657 w 663"/>
                <a:gd name="T105" fmla="*/ 187 h 482"/>
                <a:gd name="T106" fmla="*/ 662 w 663"/>
                <a:gd name="T107" fmla="*/ 164 h 482"/>
                <a:gd name="T108" fmla="*/ 662 w 663"/>
                <a:gd name="T109" fmla="*/ 138 h 482"/>
                <a:gd name="T110" fmla="*/ 657 w 663"/>
                <a:gd name="T111" fmla="*/ 114 h 482"/>
                <a:gd name="T112" fmla="*/ 648 w 663"/>
                <a:gd name="T113" fmla="*/ 92 h 482"/>
                <a:gd name="T114" fmla="*/ 636 w 663"/>
                <a:gd name="T115" fmla="*/ 73 h 482"/>
                <a:gd name="T116" fmla="*/ 620 w 663"/>
                <a:gd name="T117" fmla="*/ 56 h 482"/>
                <a:gd name="T118" fmla="*/ 601 w 663"/>
                <a:gd name="T119" fmla="*/ 44 h 482"/>
                <a:gd name="T120" fmla="*/ 579 w 663"/>
                <a:gd name="T121" fmla="*/ 36 h 482"/>
                <a:gd name="T122" fmla="*/ 554 w 663"/>
                <a:gd name="T123" fmla="*/ 3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" h="482">
                  <a:moveTo>
                    <a:pt x="542" y="241"/>
                  </a:moveTo>
                  <a:lnTo>
                    <a:pt x="512" y="241"/>
                  </a:lnTo>
                  <a:lnTo>
                    <a:pt x="512" y="61"/>
                  </a:lnTo>
                  <a:lnTo>
                    <a:pt x="542" y="61"/>
                  </a:lnTo>
                  <a:lnTo>
                    <a:pt x="552" y="61"/>
                  </a:lnTo>
                  <a:lnTo>
                    <a:pt x="561" y="62"/>
                  </a:lnTo>
                  <a:lnTo>
                    <a:pt x="570" y="64"/>
                  </a:lnTo>
                  <a:lnTo>
                    <a:pt x="578" y="68"/>
                  </a:lnTo>
                  <a:lnTo>
                    <a:pt x="586" y="71"/>
                  </a:lnTo>
                  <a:lnTo>
                    <a:pt x="594" y="75"/>
                  </a:lnTo>
                  <a:lnTo>
                    <a:pt x="601" y="80"/>
                  </a:lnTo>
                  <a:lnTo>
                    <a:pt x="608" y="86"/>
                  </a:lnTo>
                  <a:lnTo>
                    <a:pt x="613" y="92"/>
                  </a:lnTo>
                  <a:lnTo>
                    <a:pt x="618" y="99"/>
                  </a:lnTo>
                  <a:lnTo>
                    <a:pt x="622" y="106"/>
                  </a:lnTo>
                  <a:lnTo>
                    <a:pt x="626" y="114"/>
                  </a:lnTo>
                  <a:lnTo>
                    <a:pt x="629" y="123"/>
                  </a:lnTo>
                  <a:lnTo>
                    <a:pt x="630" y="132"/>
                  </a:lnTo>
                  <a:lnTo>
                    <a:pt x="632" y="141"/>
                  </a:lnTo>
                  <a:lnTo>
                    <a:pt x="632" y="151"/>
                  </a:lnTo>
                  <a:lnTo>
                    <a:pt x="632" y="160"/>
                  </a:lnTo>
                  <a:lnTo>
                    <a:pt x="630" y="170"/>
                  </a:lnTo>
                  <a:lnTo>
                    <a:pt x="629" y="179"/>
                  </a:lnTo>
                  <a:lnTo>
                    <a:pt x="626" y="187"/>
                  </a:lnTo>
                  <a:lnTo>
                    <a:pt x="622" y="195"/>
                  </a:lnTo>
                  <a:lnTo>
                    <a:pt x="618" y="203"/>
                  </a:lnTo>
                  <a:lnTo>
                    <a:pt x="613" y="210"/>
                  </a:lnTo>
                  <a:lnTo>
                    <a:pt x="608" y="215"/>
                  </a:lnTo>
                  <a:lnTo>
                    <a:pt x="601" y="221"/>
                  </a:lnTo>
                  <a:lnTo>
                    <a:pt x="594" y="227"/>
                  </a:lnTo>
                  <a:lnTo>
                    <a:pt x="586" y="231"/>
                  </a:lnTo>
                  <a:lnTo>
                    <a:pt x="578" y="235"/>
                  </a:lnTo>
                  <a:lnTo>
                    <a:pt x="570" y="237"/>
                  </a:lnTo>
                  <a:lnTo>
                    <a:pt x="561" y="239"/>
                  </a:lnTo>
                  <a:lnTo>
                    <a:pt x="552" y="240"/>
                  </a:lnTo>
                  <a:lnTo>
                    <a:pt x="542" y="241"/>
                  </a:lnTo>
                  <a:lnTo>
                    <a:pt x="542" y="241"/>
                  </a:lnTo>
                  <a:close/>
                  <a:moveTo>
                    <a:pt x="542" y="30"/>
                  </a:moveTo>
                  <a:lnTo>
                    <a:pt x="512" y="30"/>
                  </a:lnTo>
                  <a:lnTo>
                    <a:pt x="512" y="16"/>
                  </a:lnTo>
                  <a:lnTo>
                    <a:pt x="512" y="12"/>
                  </a:lnTo>
                  <a:lnTo>
                    <a:pt x="510" y="10"/>
                  </a:lnTo>
                  <a:lnTo>
                    <a:pt x="509" y="7"/>
                  </a:lnTo>
                  <a:lnTo>
                    <a:pt x="507" y="4"/>
                  </a:lnTo>
                  <a:lnTo>
                    <a:pt x="505" y="3"/>
                  </a:lnTo>
                  <a:lnTo>
                    <a:pt x="503" y="1"/>
                  </a:lnTo>
                  <a:lnTo>
                    <a:pt x="500" y="1"/>
                  </a:lnTo>
                  <a:lnTo>
                    <a:pt x="497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392"/>
                  </a:lnTo>
                  <a:lnTo>
                    <a:pt x="0" y="401"/>
                  </a:lnTo>
                  <a:lnTo>
                    <a:pt x="2" y="410"/>
                  </a:lnTo>
                  <a:lnTo>
                    <a:pt x="3" y="419"/>
                  </a:lnTo>
                  <a:lnTo>
                    <a:pt x="7" y="427"/>
                  </a:lnTo>
                  <a:lnTo>
                    <a:pt x="10" y="435"/>
                  </a:lnTo>
                  <a:lnTo>
                    <a:pt x="15" y="442"/>
                  </a:lnTo>
                  <a:lnTo>
                    <a:pt x="20" y="449"/>
                  </a:lnTo>
                  <a:lnTo>
                    <a:pt x="26" y="456"/>
                  </a:lnTo>
                  <a:lnTo>
                    <a:pt x="33" y="462"/>
                  </a:lnTo>
                  <a:lnTo>
                    <a:pt x="39" y="467"/>
                  </a:lnTo>
                  <a:lnTo>
                    <a:pt x="47" y="471"/>
                  </a:lnTo>
                  <a:lnTo>
                    <a:pt x="55" y="475"/>
                  </a:lnTo>
                  <a:lnTo>
                    <a:pt x="63" y="477"/>
                  </a:lnTo>
                  <a:lnTo>
                    <a:pt x="72" y="480"/>
                  </a:lnTo>
                  <a:lnTo>
                    <a:pt x="81" y="482"/>
                  </a:lnTo>
                  <a:lnTo>
                    <a:pt x="90" y="482"/>
                  </a:lnTo>
                  <a:lnTo>
                    <a:pt x="421" y="482"/>
                  </a:lnTo>
                  <a:lnTo>
                    <a:pt x="431" y="482"/>
                  </a:lnTo>
                  <a:lnTo>
                    <a:pt x="440" y="480"/>
                  </a:lnTo>
                  <a:lnTo>
                    <a:pt x="449" y="477"/>
                  </a:lnTo>
                  <a:lnTo>
                    <a:pt x="457" y="475"/>
                  </a:lnTo>
                  <a:lnTo>
                    <a:pt x="465" y="472"/>
                  </a:lnTo>
                  <a:lnTo>
                    <a:pt x="473" y="467"/>
                  </a:lnTo>
                  <a:lnTo>
                    <a:pt x="480" y="462"/>
                  </a:lnTo>
                  <a:lnTo>
                    <a:pt x="486" y="456"/>
                  </a:lnTo>
                  <a:lnTo>
                    <a:pt x="491" y="449"/>
                  </a:lnTo>
                  <a:lnTo>
                    <a:pt x="497" y="442"/>
                  </a:lnTo>
                  <a:lnTo>
                    <a:pt x="501" y="436"/>
                  </a:lnTo>
                  <a:lnTo>
                    <a:pt x="505" y="428"/>
                  </a:lnTo>
                  <a:lnTo>
                    <a:pt x="508" y="419"/>
                  </a:lnTo>
                  <a:lnTo>
                    <a:pt x="510" y="411"/>
                  </a:lnTo>
                  <a:lnTo>
                    <a:pt x="512" y="401"/>
                  </a:lnTo>
                  <a:lnTo>
                    <a:pt x="512" y="392"/>
                  </a:lnTo>
                  <a:lnTo>
                    <a:pt x="512" y="271"/>
                  </a:lnTo>
                  <a:lnTo>
                    <a:pt x="542" y="271"/>
                  </a:lnTo>
                  <a:lnTo>
                    <a:pt x="554" y="271"/>
                  </a:lnTo>
                  <a:lnTo>
                    <a:pt x="567" y="269"/>
                  </a:lnTo>
                  <a:lnTo>
                    <a:pt x="579" y="266"/>
                  </a:lnTo>
                  <a:lnTo>
                    <a:pt x="591" y="262"/>
                  </a:lnTo>
                  <a:lnTo>
                    <a:pt x="601" y="257"/>
                  </a:lnTo>
                  <a:lnTo>
                    <a:pt x="611" y="252"/>
                  </a:lnTo>
                  <a:lnTo>
                    <a:pt x="620" y="245"/>
                  </a:lnTo>
                  <a:lnTo>
                    <a:pt x="628" y="237"/>
                  </a:lnTo>
                  <a:lnTo>
                    <a:pt x="636" y="229"/>
                  </a:lnTo>
                  <a:lnTo>
                    <a:pt x="643" y="220"/>
                  </a:lnTo>
                  <a:lnTo>
                    <a:pt x="648" y="210"/>
                  </a:lnTo>
                  <a:lnTo>
                    <a:pt x="654" y="199"/>
                  </a:lnTo>
                  <a:lnTo>
                    <a:pt x="657" y="187"/>
                  </a:lnTo>
                  <a:lnTo>
                    <a:pt x="661" y="176"/>
                  </a:lnTo>
                  <a:lnTo>
                    <a:pt x="662" y="164"/>
                  </a:lnTo>
                  <a:lnTo>
                    <a:pt x="663" y="151"/>
                  </a:lnTo>
                  <a:lnTo>
                    <a:pt x="662" y="138"/>
                  </a:lnTo>
                  <a:lnTo>
                    <a:pt x="661" y="125"/>
                  </a:lnTo>
                  <a:lnTo>
                    <a:pt x="657" y="114"/>
                  </a:lnTo>
                  <a:lnTo>
                    <a:pt x="654" y="103"/>
                  </a:lnTo>
                  <a:lnTo>
                    <a:pt x="648" y="92"/>
                  </a:lnTo>
                  <a:lnTo>
                    <a:pt x="643" y="82"/>
                  </a:lnTo>
                  <a:lnTo>
                    <a:pt x="636" y="73"/>
                  </a:lnTo>
                  <a:lnTo>
                    <a:pt x="628" y="64"/>
                  </a:lnTo>
                  <a:lnTo>
                    <a:pt x="620" y="56"/>
                  </a:lnTo>
                  <a:lnTo>
                    <a:pt x="611" y="49"/>
                  </a:lnTo>
                  <a:lnTo>
                    <a:pt x="601" y="44"/>
                  </a:lnTo>
                  <a:lnTo>
                    <a:pt x="591" y="39"/>
                  </a:lnTo>
                  <a:lnTo>
                    <a:pt x="579" y="36"/>
                  </a:lnTo>
                  <a:lnTo>
                    <a:pt x="567" y="33"/>
                  </a:lnTo>
                  <a:lnTo>
                    <a:pt x="554" y="31"/>
                  </a:lnTo>
                  <a:lnTo>
                    <a:pt x="54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4609"/>
            <p:cNvSpPr>
              <a:spLocks/>
            </p:cNvSpPr>
            <p:nvPr/>
          </p:nvSpPr>
          <p:spPr bwMode="auto">
            <a:xfrm>
              <a:off x="6469063" y="4703763"/>
              <a:ext cx="36513" cy="41275"/>
            </a:xfrm>
            <a:custGeom>
              <a:avLst/>
              <a:gdLst>
                <a:gd name="T0" fmla="*/ 22 w 116"/>
                <a:gd name="T1" fmla="*/ 2 h 132"/>
                <a:gd name="T2" fmla="*/ 18 w 116"/>
                <a:gd name="T3" fmla="*/ 1 h 132"/>
                <a:gd name="T4" fmla="*/ 14 w 116"/>
                <a:gd name="T5" fmla="*/ 0 h 132"/>
                <a:gd name="T6" fmla="*/ 10 w 116"/>
                <a:gd name="T7" fmla="*/ 1 h 132"/>
                <a:gd name="T8" fmla="*/ 7 w 116"/>
                <a:gd name="T9" fmla="*/ 3 h 132"/>
                <a:gd name="T10" fmla="*/ 3 w 116"/>
                <a:gd name="T11" fmla="*/ 5 h 132"/>
                <a:gd name="T12" fmla="*/ 1 w 116"/>
                <a:gd name="T13" fmla="*/ 9 h 132"/>
                <a:gd name="T14" fmla="*/ 0 w 116"/>
                <a:gd name="T15" fmla="*/ 13 h 132"/>
                <a:gd name="T16" fmla="*/ 0 w 116"/>
                <a:gd name="T17" fmla="*/ 17 h 132"/>
                <a:gd name="T18" fmla="*/ 14 w 116"/>
                <a:gd name="T19" fmla="*/ 132 h 132"/>
                <a:gd name="T20" fmla="*/ 116 w 116"/>
                <a:gd name="T21" fmla="*/ 56 h 132"/>
                <a:gd name="T22" fmla="*/ 22 w 116"/>
                <a:gd name="T23" fmla="*/ 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132">
                  <a:moveTo>
                    <a:pt x="22" y="2"/>
                  </a:moveTo>
                  <a:lnTo>
                    <a:pt x="18" y="1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3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14" y="132"/>
                  </a:lnTo>
                  <a:lnTo>
                    <a:pt x="116" y="56"/>
                  </a:lnTo>
                  <a:lnTo>
                    <a:pt x="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4610"/>
            <p:cNvSpPr>
              <a:spLocks noEditPoints="1"/>
            </p:cNvSpPr>
            <p:nvPr/>
          </p:nvSpPr>
          <p:spPr bwMode="auto">
            <a:xfrm>
              <a:off x="6477000" y="4656138"/>
              <a:ext cx="201613" cy="123825"/>
            </a:xfrm>
            <a:custGeom>
              <a:avLst/>
              <a:gdLst>
                <a:gd name="T0" fmla="*/ 526 w 635"/>
                <a:gd name="T1" fmla="*/ 117 h 391"/>
                <a:gd name="T2" fmla="*/ 548 w 635"/>
                <a:gd name="T3" fmla="*/ 80 h 391"/>
                <a:gd name="T4" fmla="*/ 558 w 635"/>
                <a:gd name="T5" fmla="*/ 48 h 391"/>
                <a:gd name="T6" fmla="*/ 583 w 635"/>
                <a:gd name="T7" fmla="*/ 72 h 391"/>
                <a:gd name="T8" fmla="*/ 600 w 635"/>
                <a:gd name="T9" fmla="*/ 108 h 391"/>
                <a:gd name="T10" fmla="*/ 602 w 635"/>
                <a:gd name="T11" fmla="*/ 164 h 391"/>
                <a:gd name="T12" fmla="*/ 583 w 635"/>
                <a:gd name="T13" fmla="*/ 202 h 391"/>
                <a:gd name="T14" fmla="*/ 559 w 635"/>
                <a:gd name="T15" fmla="*/ 213 h 391"/>
                <a:gd name="T16" fmla="*/ 542 w 635"/>
                <a:gd name="T17" fmla="*/ 213 h 391"/>
                <a:gd name="T18" fmla="*/ 514 w 635"/>
                <a:gd name="T19" fmla="*/ 198 h 391"/>
                <a:gd name="T20" fmla="*/ 500 w 635"/>
                <a:gd name="T21" fmla="*/ 167 h 391"/>
                <a:gd name="T22" fmla="*/ 183 w 635"/>
                <a:gd name="T23" fmla="*/ 391 h 391"/>
                <a:gd name="T24" fmla="*/ 193 w 635"/>
                <a:gd name="T25" fmla="*/ 387 h 391"/>
                <a:gd name="T26" fmla="*/ 202 w 635"/>
                <a:gd name="T27" fmla="*/ 387 h 391"/>
                <a:gd name="T28" fmla="*/ 396 w 635"/>
                <a:gd name="T29" fmla="*/ 390 h 391"/>
                <a:gd name="T30" fmla="*/ 486 w 635"/>
                <a:gd name="T31" fmla="*/ 391 h 391"/>
                <a:gd name="T32" fmla="*/ 499 w 635"/>
                <a:gd name="T33" fmla="*/ 382 h 391"/>
                <a:gd name="T34" fmla="*/ 583 w 635"/>
                <a:gd name="T35" fmla="*/ 237 h 391"/>
                <a:gd name="T36" fmla="*/ 605 w 635"/>
                <a:gd name="T37" fmla="*/ 221 h 391"/>
                <a:gd name="T38" fmla="*/ 622 w 635"/>
                <a:gd name="T39" fmla="*/ 197 h 391"/>
                <a:gd name="T40" fmla="*/ 635 w 635"/>
                <a:gd name="T41" fmla="*/ 146 h 391"/>
                <a:gd name="T42" fmla="*/ 629 w 635"/>
                <a:gd name="T43" fmla="*/ 99 h 391"/>
                <a:gd name="T44" fmla="*/ 608 w 635"/>
                <a:gd name="T45" fmla="*/ 55 h 391"/>
                <a:gd name="T46" fmla="*/ 568 w 635"/>
                <a:gd name="T47" fmla="*/ 19 h 391"/>
                <a:gd name="T48" fmla="*/ 522 w 635"/>
                <a:gd name="T49" fmla="*/ 2 h 391"/>
                <a:gd name="T50" fmla="*/ 508 w 635"/>
                <a:gd name="T51" fmla="*/ 12 h 391"/>
                <a:gd name="T52" fmla="*/ 514 w 635"/>
                <a:gd name="T53" fmla="*/ 31 h 391"/>
                <a:gd name="T54" fmla="*/ 522 w 635"/>
                <a:gd name="T55" fmla="*/ 54 h 391"/>
                <a:gd name="T56" fmla="*/ 516 w 635"/>
                <a:gd name="T57" fmla="*/ 79 h 391"/>
                <a:gd name="T58" fmla="*/ 491 w 635"/>
                <a:gd name="T59" fmla="*/ 112 h 391"/>
                <a:gd name="T60" fmla="*/ 474 w 635"/>
                <a:gd name="T61" fmla="*/ 143 h 391"/>
                <a:gd name="T62" fmla="*/ 470 w 635"/>
                <a:gd name="T63" fmla="*/ 173 h 391"/>
                <a:gd name="T64" fmla="*/ 479 w 635"/>
                <a:gd name="T65" fmla="*/ 202 h 391"/>
                <a:gd name="T66" fmla="*/ 409 w 635"/>
                <a:gd name="T67" fmla="*/ 346 h 391"/>
                <a:gd name="T68" fmla="*/ 328 w 635"/>
                <a:gd name="T69" fmla="*/ 329 h 391"/>
                <a:gd name="T70" fmla="*/ 320 w 635"/>
                <a:gd name="T71" fmla="*/ 321 h 391"/>
                <a:gd name="T72" fmla="*/ 320 w 635"/>
                <a:gd name="T73" fmla="*/ 310 h 391"/>
                <a:gd name="T74" fmla="*/ 328 w 635"/>
                <a:gd name="T75" fmla="*/ 302 h 391"/>
                <a:gd name="T76" fmla="*/ 409 w 635"/>
                <a:gd name="T77" fmla="*/ 240 h 391"/>
                <a:gd name="T78" fmla="*/ 295 w 635"/>
                <a:gd name="T79" fmla="*/ 238 h 391"/>
                <a:gd name="T80" fmla="*/ 288 w 635"/>
                <a:gd name="T81" fmla="*/ 229 h 391"/>
                <a:gd name="T82" fmla="*/ 290 w 635"/>
                <a:gd name="T83" fmla="*/ 217 h 391"/>
                <a:gd name="T84" fmla="*/ 300 w 635"/>
                <a:gd name="T85" fmla="*/ 211 h 391"/>
                <a:gd name="T86" fmla="*/ 333 w 635"/>
                <a:gd name="T87" fmla="*/ 180 h 391"/>
                <a:gd name="T88" fmla="*/ 323 w 635"/>
                <a:gd name="T89" fmla="*/ 176 h 391"/>
                <a:gd name="T90" fmla="*/ 318 w 635"/>
                <a:gd name="T91" fmla="*/ 166 h 391"/>
                <a:gd name="T92" fmla="*/ 323 w 635"/>
                <a:gd name="T93" fmla="*/ 154 h 391"/>
                <a:gd name="T94" fmla="*/ 333 w 635"/>
                <a:gd name="T95" fmla="*/ 150 h 391"/>
                <a:gd name="T96" fmla="*/ 300 w 635"/>
                <a:gd name="T97" fmla="*/ 119 h 391"/>
                <a:gd name="T98" fmla="*/ 290 w 635"/>
                <a:gd name="T99" fmla="*/ 114 h 391"/>
                <a:gd name="T100" fmla="*/ 288 w 635"/>
                <a:gd name="T101" fmla="*/ 102 h 391"/>
                <a:gd name="T102" fmla="*/ 295 w 635"/>
                <a:gd name="T103" fmla="*/ 92 h 391"/>
                <a:gd name="T104" fmla="*/ 409 w 635"/>
                <a:gd name="T105" fmla="*/ 90 h 391"/>
                <a:gd name="T106" fmla="*/ 405 w 635"/>
                <a:gd name="T107" fmla="*/ 6 h 391"/>
                <a:gd name="T108" fmla="*/ 396 w 635"/>
                <a:gd name="T109" fmla="*/ 0 h 391"/>
                <a:gd name="T110" fmla="*/ 207 w 635"/>
                <a:gd name="T111" fmla="*/ 1 h 391"/>
                <a:gd name="T112" fmla="*/ 199 w 635"/>
                <a:gd name="T113" fmla="*/ 9 h 391"/>
                <a:gd name="T114" fmla="*/ 196 w 635"/>
                <a:gd name="T115" fmla="*/ 370 h 391"/>
                <a:gd name="T116" fmla="*/ 50 w 635"/>
                <a:gd name="T117" fmla="*/ 385 h 391"/>
                <a:gd name="T118" fmla="*/ 62 w 635"/>
                <a:gd name="T11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5" h="391">
                  <a:moveTo>
                    <a:pt x="505" y="147"/>
                  </a:moveTo>
                  <a:lnTo>
                    <a:pt x="510" y="136"/>
                  </a:lnTo>
                  <a:lnTo>
                    <a:pt x="521" y="124"/>
                  </a:lnTo>
                  <a:lnTo>
                    <a:pt x="526" y="117"/>
                  </a:lnTo>
                  <a:lnTo>
                    <a:pt x="532" y="108"/>
                  </a:lnTo>
                  <a:lnTo>
                    <a:pt x="539" y="100"/>
                  </a:lnTo>
                  <a:lnTo>
                    <a:pt x="543" y="90"/>
                  </a:lnTo>
                  <a:lnTo>
                    <a:pt x="548" y="80"/>
                  </a:lnTo>
                  <a:lnTo>
                    <a:pt x="550" y="68"/>
                  </a:lnTo>
                  <a:lnTo>
                    <a:pt x="551" y="56"/>
                  </a:lnTo>
                  <a:lnTo>
                    <a:pt x="550" y="44"/>
                  </a:lnTo>
                  <a:lnTo>
                    <a:pt x="558" y="48"/>
                  </a:lnTo>
                  <a:lnTo>
                    <a:pt x="565" y="54"/>
                  </a:lnTo>
                  <a:lnTo>
                    <a:pt x="571" y="59"/>
                  </a:lnTo>
                  <a:lnTo>
                    <a:pt x="577" y="65"/>
                  </a:lnTo>
                  <a:lnTo>
                    <a:pt x="583" y="72"/>
                  </a:lnTo>
                  <a:lnTo>
                    <a:pt x="587" y="79"/>
                  </a:lnTo>
                  <a:lnTo>
                    <a:pt x="591" y="85"/>
                  </a:lnTo>
                  <a:lnTo>
                    <a:pt x="594" y="93"/>
                  </a:lnTo>
                  <a:lnTo>
                    <a:pt x="600" y="108"/>
                  </a:lnTo>
                  <a:lnTo>
                    <a:pt x="603" y="124"/>
                  </a:lnTo>
                  <a:lnTo>
                    <a:pt x="604" y="138"/>
                  </a:lnTo>
                  <a:lnTo>
                    <a:pt x="603" y="154"/>
                  </a:lnTo>
                  <a:lnTo>
                    <a:pt x="602" y="164"/>
                  </a:lnTo>
                  <a:lnTo>
                    <a:pt x="599" y="175"/>
                  </a:lnTo>
                  <a:lnTo>
                    <a:pt x="594" y="185"/>
                  </a:lnTo>
                  <a:lnTo>
                    <a:pt x="590" y="194"/>
                  </a:lnTo>
                  <a:lnTo>
                    <a:pt x="583" y="202"/>
                  </a:lnTo>
                  <a:lnTo>
                    <a:pt x="575" y="208"/>
                  </a:lnTo>
                  <a:lnTo>
                    <a:pt x="569" y="211"/>
                  </a:lnTo>
                  <a:lnTo>
                    <a:pt x="565" y="212"/>
                  </a:lnTo>
                  <a:lnTo>
                    <a:pt x="559" y="213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48" y="213"/>
                  </a:lnTo>
                  <a:lnTo>
                    <a:pt x="542" y="213"/>
                  </a:lnTo>
                  <a:lnTo>
                    <a:pt x="536" y="211"/>
                  </a:lnTo>
                  <a:lnTo>
                    <a:pt x="530" y="208"/>
                  </a:lnTo>
                  <a:lnTo>
                    <a:pt x="521" y="204"/>
                  </a:lnTo>
                  <a:lnTo>
                    <a:pt x="514" y="198"/>
                  </a:lnTo>
                  <a:lnTo>
                    <a:pt x="507" y="191"/>
                  </a:lnTo>
                  <a:lnTo>
                    <a:pt x="504" y="184"/>
                  </a:lnTo>
                  <a:lnTo>
                    <a:pt x="500" y="175"/>
                  </a:lnTo>
                  <a:lnTo>
                    <a:pt x="500" y="167"/>
                  </a:lnTo>
                  <a:lnTo>
                    <a:pt x="501" y="156"/>
                  </a:lnTo>
                  <a:lnTo>
                    <a:pt x="505" y="147"/>
                  </a:lnTo>
                  <a:close/>
                  <a:moveTo>
                    <a:pt x="62" y="391"/>
                  </a:moveTo>
                  <a:lnTo>
                    <a:pt x="183" y="391"/>
                  </a:lnTo>
                  <a:lnTo>
                    <a:pt x="183" y="391"/>
                  </a:lnTo>
                  <a:lnTo>
                    <a:pt x="183" y="391"/>
                  </a:lnTo>
                  <a:lnTo>
                    <a:pt x="189" y="390"/>
                  </a:lnTo>
                  <a:lnTo>
                    <a:pt x="193" y="387"/>
                  </a:lnTo>
                  <a:lnTo>
                    <a:pt x="196" y="382"/>
                  </a:lnTo>
                  <a:lnTo>
                    <a:pt x="198" y="377"/>
                  </a:lnTo>
                  <a:lnTo>
                    <a:pt x="199" y="382"/>
                  </a:lnTo>
                  <a:lnTo>
                    <a:pt x="202" y="387"/>
                  </a:lnTo>
                  <a:lnTo>
                    <a:pt x="207" y="390"/>
                  </a:lnTo>
                  <a:lnTo>
                    <a:pt x="212" y="391"/>
                  </a:lnTo>
                  <a:lnTo>
                    <a:pt x="393" y="391"/>
                  </a:lnTo>
                  <a:lnTo>
                    <a:pt x="396" y="390"/>
                  </a:lnTo>
                  <a:lnTo>
                    <a:pt x="400" y="389"/>
                  </a:lnTo>
                  <a:lnTo>
                    <a:pt x="403" y="390"/>
                  </a:lnTo>
                  <a:lnTo>
                    <a:pt x="407" y="391"/>
                  </a:lnTo>
                  <a:lnTo>
                    <a:pt x="486" y="391"/>
                  </a:lnTo>
                  <a:lnTo>
                    <a:pt x="489" y="390"/>
                  </a:lnTo>
                  <a:lnTo>
                    <a:pt x="494" y="389"/>
                  </a:lnTo>
                  <a:lnTo>
                    <a:pt x="496" y="386"/>
                  </a:lnTo>
                  <a:lnTo>
                    <a:pt x="499" y="382"/>
                  </a:lnTo>
                  <a:lnTo>
                    <a:pt x="564" y="242"/>
                  </a:lnTo>
                  <a:lnTo>
                    <a:pt x="570" y="241"/>
                  </a:lnTo>
                  <a:lnTo>
                    <a:pt x="577" y="240"/>
                  </a:lnTo>
                  <a:lnTo>
                    <a:pt x="583" y="237"/>
                  </a:lnTo>
                  <a:lnTo>
                    <a:pt x="590" y="234"/>
                  </a:lnTo>
                  <a:lnTo>
                    <a:pt x="595" y="230"/>
                  </a:lnTo>
                  <a:lnTo>
                    <a:pt x="601" y="227"/>
                  </a:lnTo>
                  <a:lnTo>
                    <a:pt x="605" y="221"/>
                  </a:lnTo>
                  <a:lnTo>
                    <a:pt x="610" y="216"/>
                  </a:lnTo>
                  <a:lnTo>
                    <a:pt x="614" y="211"/>
                  </a:lnTo>
                  <a:lnTo>
                    <a:pt x="619" y="204"/>
                  </a:lnTo>
                  <a:lnTo>
                    <a:pt x="622" y="197"/>
                  </a:lnTo>
                  <a:lnTo>
                    <a:pt x="626" y="190"/>
                  </a:lnTo>
                  <a:lnTo>
                    <a:pt x="630" y="175"/>
                  </a:lnTo>
                  <a:lnTo>
                    <a:pt x="634" y="158"/>
                  </a:lnTo>
                  <a:lnTo>
                    <a:pt x="635" y="146"/>
                  </a:lnTo>
                  <a:lnTo>
                    <a:pt x="635" y="134"/>
                  </a:lnTo>
                  <a:lnTo>
                    <a:pt x="634" y="123"/>
                  </a:lnTo>
                  <a:lnTo>
                    <a:pt x="631" y="110"/>
                  </a:lnTo>
                  <a:lnTo>
                    <a:pt x="629" y="99"/>
                  </a:lnTo>
                  <a:lnTo>
                    <a:pt x="625" y="88"/>
                  </a:lnTo>
                  <a:lnTo>
                    <a:pt x="620" y="76"/>
                  </a:lnTo>
                  <a:lnTo>
                    <a:pt x="614" y="65"/>
                  </a:lnTo>
                  <a:lnTo>
                    <a:pt x="608" y="55"/>
                  </a:lnTo>
                  <a:lnTo>
                    <a:pt x="599" y="45"/>
                  </a:lnTo>
                  <a:lnTo>
                    <a:pt x="590" y="36"/>
                  </a:lnTo>
                  <a:lnTo>
                    <a:pt x="579" y="27"/>
                  </a:lnTo>
                  <a:lnTo>
                    <a:pt x="568" y="19"/>
                  </a:lnTo>
                  <a:lnTo>
                    <a:pt x="556" y="12"/>
                  </a:lnTo>
                  <a:lnTo>
                    <a:pt x="542" y="6"/>
                  </a:lnTo>
                  <a:lnTo>
                    <a:pt x="526" y="3"/>
                  </a:lnTo>
                  <a:lnTo>
                    <a:pt x="522" y="2"/>
                  </a:lnTo>
                  <a:lnTo>
                    <a:pt x="517" y="3"/>
                  </a:lnTo>
                  <a:lnTo>
                    <a:pt x="514" y="5"/>
                  </a:lnTo>
                  <a:lnTo>
                    <a:pt x="510" y="9"/>
                  </a:lnTo>
                  <a:lnTo>
                    <a:pt x="508" y="12"/>
                  </a:lnTo>
                  <a:lnTo>
                    <a:pt x="508" y="16"/>
                  </a:lnTo>
                  <a:lnTo>
                    <a:pt x="508" y="21"/>
                  </a:lnTo>
                  <a:lnTo>
                    <a:pt x="510" y="25"/>
                  </a:lnTo>
                  <a:lnTo>
                    <a:pt x="514" y="31"/>
                  </a:lnTo>
                  <a:lnTo>
                    <a:pt x="517" y="38"/>
                  </a:lnTo>
                  <a:lnTo>
                    <a:pt x="520" y="44"/>
                  </a:lnTo>
                  <a:lnTo>
                    <a:pt x="521" y="49"/>
                  </a:lnTo>
                  <a:lnTo>
                    <a:pt x="522" y="54"/>
                  </a:lnTo>
                  <a:lnTo>
                    <a:pt x="522" y="59"/>
                  </a:lnTo>
                  <a:lnTo>
                    <a:pt x="521" y="64"/>
                  </a:lnTo>
                  <a:lnTo>
                    <a:pt x="520" y="70"/>
                  </a:lnTo>
                  <a:lnTo>
                    <a:pt x="516" y="79"/>
                  </a:lnTo>
                  <a:lnTo>
                    <a:pt x="510" y="88"/>
                  </a:lnTo>
                  <a:lnTo>
                    <a:pt x="504" y="97"/>
                  </a:lnTo>
                  <a:lnTo>
                    <a:pt x="497" y="106"/>
                  </a:lnTo>
                  <a:lnTo>
                    <a:pt x="491" y="112"/>
                  </a:lnTo>
                  <a:lnTo>
                    <a:pt x="486" y="120"/>
                  </a:lnTo>
                  <a:lnTo>
                    <a:pt x="481" y="128"/>
                  </a:lnTo>
                  <a:lnTo>
                    <a:pt x="477" y="136"/>
                  </a:lnTo>
                  <a:lnTo>
                    <a:pt x="474" y="143"/>
                  </a:lnTo>
                  <a:lnTo>
                    <a:pt x="472" y="151"/>
                  </a:lnTo>
                  <a:lnTo>
                    <a:pt x="471" y="159"/>
                  </a:lnTo>
                  <a:lnTo>
                    <a:pt x="470" y="167"/>
                  </a:lnTo>
                  <a:lnTo>
                    <a:pt x="470" y="173"/>
                  </a:lnTo>
                  <a:lnTo>
                    <a:pt x="471" y="181"/>
                  </a:lnTo>
                  <a:lnTo>
                    <a:pt x="473" y="188"/>
                  </a:lnTo>
                  <a:lnTo>
                    <a:pt x="475" y="195"/>
                  </a:lnTo>
                  <a:lnTo>
                    <a:pt x="479" y="202"/>
                  </a:lnTo>
                  <a:lnTo>
                    <a:pt x="482" y="207"/>
                  </a:lnTo>
                  <a:lnTo>
                    <a:pt x="487" y="213"/>
                  </a:lnTo>
                  <a:lnTo>
                    <a:pt x="491" y="219"/>
                  </a:lnTo>
                  <a:lnTo>
                    <a:pt x="409" y="346"/>
                  </a:lnTo>
                  <a:lnTo>
                    <a:pt x="409" y="330"/>
                  </a:lnTo>
                  <a:lnTo>
                    <a:pt x="333" y="330"/>
                  </a:lnTo>
                  <a:lnTo>
                    <a:pt x="330" y="330"/>
                  </a:lnTo>
                  <a:lnTo>
                    <a:pt x="328" y="329"/>
                  </a:lnTo>
                  <a:lnTo>
                    <a:pt x="324" y="328"/>
                  </a:lnTo>
                  <a:lnTo>
                    <a:pt x="323" y="326"/>
                  </a:lnTo>
                  <a:lnTo>
                    <a:pt x="321" y="324"/>
                  </a:lnTo>
                  <a:lnTo>
                    <a:pt x="320" y="321"/>
                  </a:lnTo>
                  <a:lnTo>
                    <a:pt x="318" y="319"/>
                  </a:lnTo>
                  <a:lnTo>
                    <a:pt x="318" y="316"/>
                  </a:lnTo>
                  <a:lnTo>
                    <a:pt x="318" y="312"/>
                  </a:lnTo>
                  <a:lnTo>
                    <a:pt x="320" y="310"/>
                  </a:lnTo>
                  <a:lnTo>
                    <a:pt x="321" y="308"/>
                  </a:lnTo>
                  <a:lnTo>
                    <a:pt x="323" y="306"/>
                  </a:lnTo>
                  <a:lnTo>
                    <a:pt x="324" y="303"/>
                  </a:lnTo>
                  <a:lnTo>
                    <a:pt x="328" y="302"/>
                  </a:lnTo>
                  <a:lnTo>
                    <a:pt x="330" y="301"/>
                  </a:lnTo>
                  <a:lnTo>
                    <a:pt x="333" y="301"/>
                  </a:lnTo>
                  <a:lnTo>
                    <a:pt x="409" y="301"/>
                  </a:lnTo>
                  <a:lnTo>
                    <a:pt x="409" y="240"/>
                  </a:lnTo>
                  <a:lnTo>
                    <a:pt x="303" y="240"/>
                  </a:lnTo>
                  <a:lnTo>
                    <a:pt x="300" y="240"/>
                  </a:lnTo>
                  <a:lnTo>
                    <a:pt x="297" y="239"/>
                  </a:lnTo>
                  <a:lnTo>
                    <a:pt x="295" y="238"/>
                  </a:lnTo>
                  <a:lnTo>
                    <a:pt x="292" y="236"/>
                  </a:lnTo>
                  <a:lnTo>
                    <a:pt x="290" y="233"/>
                  </a:lnTo>
                  <a:lnTo>
                    <a:pt x="289" y="231"/>
                  </a:lnTo>
                  <a:lnTo>
                    <a:pt x="288" y="229"/>
                  </a:lnTo>
                  <a:lnTo>
                    <a:pt x="288" y="225"/>
                  </a:lnTo>
                  <a:lnTo>
                    <a:pt x="288" y="222"/>
                  </a:lnTo>
                  <a:lnTo>
                    <a:pt x="289" y="220"/>
                  </a:lnTo>
                  <a:lnTo>
                    <a:pt x="290" y="217"/>
                  </a:lnTo>
                  <a:lnTo>
                    <a:pt x="292" y="215"/>
                  </a:lnTo>
                  <a:lnTo>
                    <a:pt x="295" y="213"/>
                  </a:lnTo>
                  <a:lnTo>
                    <a:pt x="297" y="212"/>
                  </a:lnTo>
                  <a:lnTo>
                    <a:pt x="300" y="211"/>
                  </a:lnTo>
                  <a:lnTo>
                    <a:pt x="303" y="211"/>
                  </a:lnTo>
                  <a:lnTo>
                    <a:pt x="409" y="211"/>
                  </a:lnTo>
                  <a:lnTo>
                    <a:pt x="409" y="180"/>
                  </a:lnTo>
                  <a:lnTo>
                    <a:pt x="333" y="180"/>
                  </a:lnTo>
                  <a:lnTo>
                    <a:pt x="330" y="180"/>
                  </a:lnTo>
                  <a:lnTo>
                    <a:pt x="328" y="179"/>
                  </a:lnTo>
                  <a:lnTo>
                    <a:pt x="324" y="178"/>
                  </a:lnTo>
                  <a:lnTo>
                    <a:pt x="323" y="176"/>
                  </a:lnTo>
                  <a:lnTo>
                    <a:pt x="321" y="173"/>
                  </a:lnTo>
                  <a:lnTo>
                    <a:pt x="320" y="171"/>
                  </a:lnTo>
                  <a:lnTo>
                    <a:pt x="318" y="168"/>
                  </a:lnTo>
                  <a:lnTo>
                    <a:pt x="318" y="166"/>
                  </a:lnTo>
                  <a:lnTo>
                    <a:pt x="318" y="162"/>
                  </a:lnTo>
                  <a:lnTo>
                    <a:pt x="320" y="160"/>
                  </a:lnTo>
                  <a:lnTo>
                    <a:pt x="321" y="156"/>
                  </a:lnTo>
                  <a:lnTo>
                    <a:pt x="323" y="154"/>
                  </a:lnTo>
                  <a:lnTo>
                    <a:pt x="324" y="153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3" y="150"/>
                  </a:lnTo>
                  <a:lnTo>
                    <a:pt x="409" y="150"/>
                  </a:lnTo>
                  <a:lnTo>
                    <a:pt x="409" y="120"/>
                  </a:lnTo>
                  <a:lnTo>
                    <a:pt x="303" y="120"/>
                  </a:lnTo>
                  <a:lnTo>
                    <a:pt x="300" y="119"/>
                  </a:lnTo>
                  <a:lnTo>
                    <a:pt x="297" y="119"/>
                  </a:lnTo>
                  <a:lnTo>
                    <a:pt x="295" y="117"/>
                  </a:lnTo>
                  <a:lnTo>
                    <a:pt x="292" y="116"/>
                  </a:lnTo>
                  <a:lnTo>
                    <a:pt x="290" y="114"/>
                  </a:lnTo>
                  <a:lnTo>
                    <a:pt x="289" y="111"/>
                  </a:lnTo>
                  <a:lnTo>
                    <a:pt x="288" y="108"/>
                  </a:lnTo>
                  <a:lnTo>
                    <a:pt x="288" y="105"/>
                  </a:lnTo>
                  <a:lnTo>
                    <a:pt x="288" y="102"/>
                  </a:lnTo>
                  <a:lnTo>
                    <a:pt x="289" y="99"/>
                  </a:lnTo>
                  <a:lnTo>
                    <a:pt x="290" y="97"/>
                  </a:lnTo>
                  <a:lnTo>
                    <a:pt x="292" y="94"/>
                  </a:lnTo>
                  <a:lnTo>
                    <a:pt x="295" y="92"/>
                  </a:lnTo>
                  <a:lnTo>
                    <a:pt x="297" y="91"/>
                  </a:lnTo>
                  <a:lnTo>
                    <a:pt x="300" y="90"/>
                  </a:lnTo>
                  <a:lnTo>
                    <a:pt x="303" y="90"/>
                  </a:lnTo>
                  <a:lnTo>
                    <a:pt x="409" y="90"/>
                  </a:lnTo>
                  <a:lnTo>
                    <a:pt x="409" y="14"/>
                  </a:lnTo>
                  <a:lnTo>
                    <a:pt x="408" y="12"/>
                  </a:lnTo>
                  <a:lnTo>
                    <a:pt x="408" y="9"/>
                  </a:lnTo>
                  <a:lnTo>
                    <a:pt x="405" y="6"/>
                  </a:lnTo>
                  <a:lnTo>
                    <a:pt x="404" y="4"/>
                  </a:lnTo>
                  <a:lnTo>
                    <a:pt x="402" y="2"/>
                  </a:lnTo>
                  <a:lnTo>
                    <a:pt x="399" y="1"/>
                  </a:lnTo>
                  <a:lnTo>
                    <a:pt x="396" y="0"/>
                  </a:lnTo>
                  <a:lnTo>
                    <a:pt x="393" y="0"/>
                  </a:lnTo>
                  <a:lnTo>
                    <a:pt x="212" y="0"/>
                  </a:lnTo>
                  <a:lnTo>
                    <a:pt x="210" y="0"/>
                  </a:lnTo>
                  <a:lnTo>
                    <a:pt x="207" y="1"/>
                  </a:lnTo>
                  <a:lnTo>
                    <a:pt x="204" y="2"/>
                  </a:lnTo>
                  <a:lnTo>
                    <a:pt x="202" y="4"/>
                  </a:lnTo>
                  <a:lnTo>
                    <a:pt x="200" y="6"/>
                  </a:lnTo>
                  <a:lnTo>
                    <a:pt x="199" y="9"/>
                  </a:lnTo>
                  <a:lnTo>
                    <a:pt x="198" y="12"/>
                  </a:lnTo>
                  <a:lnTo>
                    <a:pt x="198" y="14"/>
                  </a:lnTo>
                  <a:lnTo>
                    <a:pt x="198" y="374"/>
                  </a:lnTo>
                  <a:lnTo>
                    <a:pt x="196" y="370"/>
                  </a:lnTo>
                  <a:lnTo>
                    <a:pt x="194" y="365"/>
                  </a:lnTo>
                  <a:lnTo>
                    <a:pt x="111" y="227"/>
                  </a:lnTo>
                  <a:lnTo>
                    <a:pt x="0" y="310"/>
                  </a:lnTo>
                  <a:lnTo>
                    <a:pt x="50" y="385"/>
                  </a:lnTo>
                  <a:lnTo>
                    <a:pt x="52" y="387"/>
                  </a:lnTo>
                  <a:lnTo>
                    <a:pt x="55" y="389"/>
                  </a:lnTo>
                  <a:lnTo>
                    <a:pt x="59" y="390"/>
                  </a:lnTo>
                  <a:lnTo>
                    <a:pt x="62" y="391"/>
                  </a:lnTo>
                  <a:lnTo>
                    <a:pt x="62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7" name="Group 246"/>
          <p:cNvGrpSpPr/>
          <p:nvPr/>
        </p:nvGrpSpPr>
        <p:grpSpPr>
          <a:xfrm>
            <a:off x="7395847" y="3627871"/>
            <a:ext cx="287337" cy="285750"/>
            <a:chOff x="7018338" y="4656138"/>
            <a:chExt cx="287337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48" name="Freeform 4604"/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605"/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4606"/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Rectangle 4607"/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8825886" y="3624477"/>
            <a:ext cx="285750" cy="287337"/>
            <a:chOff x="2025650" y="2516188"/>
            <a:chExt cx="285750" cy="287337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53" name="Freeform 1153"/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154"/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1155"/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156"/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157"/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158"/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159"/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160"/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98272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PIE CHART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3554867" y="1933145"/>
            <a:ext cx="5082267" cy="4316097"/>
            <a:chOff x="2359025" y="1338263"/>
            <a:chExt cx="4422776" cy="3756026"/>
          </a:xfrm>
        </p:grpSpPr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rgbClr val="FE8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rgbClr val="01A0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rgbClr val="015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rgbClr val="3890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rgbClr val="7ACC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rgbClr val="FEB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rgbClr val="0185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1" name="Rectangle 60"/>
          <p:cNvSpPr/>
          <p:nvPr>
            <p:custDataLst>
              <p:tags r:id="rId1"/>
            </p:custDataLst>
          </p:nvPr>
        </p:nvSpPr>
        <p:spPr>
          <a:xfrm>
            <a:off x="577587" y="2789435"/>
            <a:ext cx="2608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/>
              <a:t>Lorem Ipsum is simply dummy text of the printing and typesetting industry. Lorem Ipsum has been the industry's standard dummy </a:t>
            </a:r>
            <a:r>
              <a:rPr lang="en-US" sz="1200" dirty="0" smtClean="0"/>
              <a:t>text.</a:t>
            </a:r>
            <a:endParaRPr lang="en-US" sz="1200" dirty="0"/>
          </a:p>
        </p:txBody>
      </p:sp>
      <p:sp>
        <p:nvSpPr>
          <p:cNvPr id="62" name="Rectangle 61"/>
          <p:cNvSpPr/>
          <p:nvPr>
            <p:custDataLst>
              <p:tags r:id="rId2"/>
            </p:custDataLst>
          </p:nvPr>
        </p:nvSpPr>
        <p:spPr>
          <a:xfrm>
            <a:off x="1785973" y="2143104"/>
            <a:ext cx="1399728" cy="646331"/>
          </a:xfrm>
          <a:prstGeom prst="rect">
            <a:avLst/>
          </a:prstGeom>
          <a:solidFill>
            <a:srgbClr val="016AA3"/>
          </a:solidFill>
          <a:ln>
            <a:noFill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lt1"/>
                </a:solidFill>
              </a:rPr>
              <a:t>75%</a:t>
            </a:r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3"/>
            </p:custDataLst>
          </p:nvPr>
        </p:nvSpPr>
        <p:spPr>
          <a:xfrm>
            <a:off x="577587" y="4872094"/>
            <a:ext cx="2608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/>
              <a:t>Lorem Ipsum is simply dummy text of the printing and typesetting industry. Lorem Ipsum has been the industry's standard dummy </a:t>
            </a:r>
            <a:r>
              <a:rPr lang="en-US" sz="1200" dirty="0" smtClean="0"/>
              <a:t>text.</a:t>
            </a:r>
            <a:endParaRPr lang="en-US" sz="1200" dirty="0"/>
          </a:p>
        </p:txBody>
      </p:sp>
      <p:sp>
        <p:nvSpPr>
          <p:cNvPr id="90" name="Rectangle 89"/>
          <p:cNvSpPr/>
          <p:nvPr>
            <p:custDataLst>
              <p:tags r:id="rId4"/>
            </p:custDataLst>
          </p:nvPr>
        </p:nvSpPr>
        <p:spPr>
          <a:xfrm>
            <a:off x="1785973" y="4225763"/>
            <a:ext cx="1399728" cy="646331"/>
          </a:xfrm>
          <a:prstGeom prst="rect">
            <a:avLst/>
          </a:prstGeo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wrap="square">
            <a:spAutoFit/>
          </a:bodyPr>
          <a:lstStyle/>
          <a:p>
            <a:pPr algn="r"/>
            <a:r>
              <a:rPr lang="en-US" sz="3600" dirty="0" smtClean="0">
                <a:solidFill>
                  <a:schemeClr val="bg1"/>
                </a:solidFill>
              </a:rPr>
              <a:t>11%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91" name="Rectangle 90"/>
          <p:cNvSpPr/>
          <p:nvPr>
            <p:custDataLst>
              <p:tags r:id="rId5"/>
            </p:custDataLst>
          </p:nvPr>
        </p:nvSpPr>
        <p:spPr>
          <a:xfrm>
            <a:off x="8758690" y="2789435"/>
            <a:ext cx="2608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Lorem Ipsum is simply dummy text of the printing and typesetting industry. Lorem Ipsum has been the industry's standard dummy </a:t>
            </a:r>
            <a:r>
              <a:rPr lang="en-US" sz="1200" dirty="0" smtClean="0"/>
              <a:t>text.</a:t>
            </a:r>
            <a:endParaRPr lang="en-US" sz="1200" dirty="0"/>
          </a:p>
        </p:txBody>
      </p:sp>
      <p:sp>
        <p:nvSpPr>
          <p:cNvPr id="92" name="Rectangle 91"/>
          <p:cNvSpPr/>
          <p:nvPr>
            <p:custDataLst>
              <p:tags r:id="rId6"/>
            </p:custDataLst>
          </p:nvPr>
        </p:nvSpPr>
        <p:spPr>
          <a:xfrm>
            <a:off x="8758690" y="2143104"/>
            <a:ext cx="1399728" cy="646331"/>
          </a:xfrm>
          <a:prstGeom prst="rect">
            <a:avLst/>
          </a:prstGeo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wrap="square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40%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7"/>
            </p:custDataLst>
          </p:nvPr>
        </p:nvSpPr>
        <p:spPr>
          <a:xfrm>
            <a:off x="8758690" y="4872094"/>
            <a:ext cx="2608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Lorem Ipsum is simply dummy text of the printing and typesetting industry. Lorem Ipsum has been the industry's standard dummy </a:t>
            </a:r>
            <a:r>
              <a:rPr lang="en-US" sz="1200" dirty="0" smtClean="0"/>
              <a:t>text.</a:t>
            </a:r>
            <a:endParaRPr lang="en-US" sz="1200" dirty="0"/>
          </a:p>
        </p:txBody>
      </p:sp>
      <p:sp>
        <p:nvSpPr>
          <p:cNvPr id="94" name="Rectangle 93"/>
          <p:cNvSpPr/>
          <p:nvPr>
            <p:custDataLst>
              <p:tags r:id="rId8"/>
            </p:custDataLst>
          </p:nvPr>
        </p:nvSpPr>
        <p:spPr>
          <a:xfrm>
            <a:off x="8758690" y="4225763"/>
            <a:ext cx="1399728" cy="646331"/>
          </a:xfrm>
          <a:prstGeom prst="rect">
            <a:avLst/>
          </a:prstGeo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wrap="square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26%</a:t>
            </a:r>
            <a:endParaRPr lang="en-US" sz="3600" dirty="0">
              <a:solidFill>
                <a:schemeClr val="bg1"/>
              </a:solidFill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139" name="Parallelogram 13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Parallelogram 13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Parallelogram 14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143" name="Parallelogram 14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Parallelogram 14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Parallelogram 14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260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525818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PROCESS GEAR</a:t>
            </a: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9" name="Straight Connector 88"/>
          <p:cNvCxnSpPr/>
          <p:nvPr/>
        </p:nvCxnSpPr>
        <p:spPr>
          <a:xfrm>
            <a:off x="5665846" y="2417199"/>
            <a:ext cx="1484353" cy="0"/>
          </a:xfrm>
          <a:prstGeom prst="line">
            <a:avLst/>
          </a:prstGeom>
          <a:ln w="12700">
            <a:solidFill>
              <a:srgbClr val="01568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4894777" y="3165665"/>
            <a:ext cx="2255421" cy="0"/>
          </a:xfrm>
          <a:prstGeom prst="line">
            <a:avLst/>
          </a:prstGeom>
          <a:ln w="12700">
            <a:solidFill>
              <a:srgbClr val="38906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4081411" y="3907520"/>
            <a:ext cx="3068787" cy="0"/>
          </a:xfrm>
          <a:prstGeom prst="line">
            <a:avLst/>
          </a:prstGeom>
          <a:ln w="12700">
            <a:solidFill>
              <a:srgbClr val="FE8D2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3356828" y="4649373"/>
            <a:ext cx="3793370" cy="0"/>
          </a:xfrm>
          <a:prstGeom prst="line">
            <a:avLst/>
          </a:prstGeom>
          <a:ln w="12700">
            <a:solidFill>
              <a:srgbClr val="7C7C7C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/>
          <p:cNvGrpSpPr/>
          <p:nvPr/>
        </p:nvGrpSpPr>
        <p:grpSpPr>
          <a:xfrm>
            <a:off x="1278064" y="1454968"/>
            <a:ext cx="4455690" cy="1937687"/>
            <a:chOff x="-13196888" y="-4316413"/>
            <a:chExt cx="9994900" cy="434657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70" name="Freeform 14"/>
            <p:cNvSpPr>
              <a:spLocks/>
            </p:cNvSpPr>
            <p:nvPr/>
          </p:nvSpPr>
          <p:spPr bwMode="auto">
            <a:xfrm>
              <a:off x="-13196888" y="-4316413"/>
              <a:ext cx="9994900" cy="2943225"/>
            </a:xfrm>
            <a:custGeom>
              <a:avLst/>
              <a:gdLst>
                <a:gd name="T0" fmla="*/ 1331 w 2662"/>
                <a:gd name="T1" fmla="*/ 0 h 784"/>
                <a:gd name="T2" fmla="*/ 0 w 2662"/>
                <a:gd name="T3" fmla="*/ 374 h 784"/>
                <a:gd name="T4" fmla="*/ 0 w 2662"/>
                <a:gd name="T5" fmla="*/ 784 h 784"/>
                <a:gd name="T6" fmla="*/ 2662 w 2662"/>
                <a:gd name="T7" fmla="*/ 784 h 784"/>
                <a:gd name="T8" fmla="*/ 2662 w 2662"/>
                <a:gd name="T9" fmla="*/ 374 h 784"/>
                <a:gd name="T10" fmla="*/ 1331 w 2662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2" h="784">
                  <a:moveTo>
                    <a:pt x="1331" y="0"/>
                  </a:moveTo>
                  <a:cubicBezTo>
                    <a:pt x="596" y="0"/>
                    <a:pt x="0" y="167"/>
                    <a:pt x="0" y="374"/>
                  </a:cubicBezTo>
                  <a:cubicBezTo>
                    <a:pt x="0" y="784"/>
                    <a:pt x="0" y="784"/>
                    <a:pt x="0" y="784"/>
                  </a:cubicBezTo>
                  <a:cubicBezTo>
                    <a:pt x="2662" y="784"/>
                    <a:pt x="2662" y="784"/>
                    <a:pt x="2662" y="784"/>
                  </a:cubicBezTo>
                  <a:cubicBezTo>
                    <a:pt x="2662" y="374"/>
                    <a:pt x="2662" y="374"/>
                    <a:pt x="2662" y="374"/>
                  </a:cubicBezTo>
                  <a:cubicBezTo>
                    <a:pt x="2662" y="167"/>
                    <a:pt x="2066" y="0"/>
                    <a:pt x="1331" y="0"/>
                  </a:cubicBezTo>
                  <a:close/>
                </a:path>
              </a:pathLst>
            </a:cu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1" name="Oval 9"/>
            <p:cNvSpPr>
              <a:spLocks noChangeArrowheads="1"/>
            </p:cNvSpPr>
            <p:nvPr/>
          </p:nvSpPr>
          <p:spPr bwMode="auto">
            <a:xfrm>
              <a:off x="-13196888" y="-2776538"/>
              <a:ext cx="9994900" cy="2806700"/>
            </a:xfrm>
            <a:prstGeom prst="ellipse">
              <a:avLst/>
            </a:prstGeom>
            <a:solidFill>
              <a:srgbClr val="015685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1363695" y="2336764"/>
            <a:ext cx="3593710" cy="1681498"/>
            <a:chOff x="-13004800" y="-2338388"/>
            <a:chExt cx="8061325" cy="377190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68" name="Freeform 13"/>
            <p:cNvSpPr>
              <a:spLocks/>
            </p:cNvSpPr>
            <p:nvPr/>
          </p:nvSpPr>
          <p:spPr bwMode="auto">
            <a:xfrm>
              <a:off x="-13004800" y="-2338388"/>
              <a:ext cx="8061325" cy="2649538"/>
            </a:xfrm>
            <a:custGeom>
              <a:avLst/>
              <a:gdLst>
                <a:gd name="T0" fmla="*/ 1073 w 2147"/>
                <a:gd name="T1" fmla="*/ 0 h 706"/>
                <a:gd name="T2" fmla="*/ 0 w 2147"/>
                <a:gd name="T3" fmla="*/ 299 h 706"/>
                <a:gd name="T4" fmla="*/ 0 w 2147"/>
                <a:gd name="T5" fmla="*/ 706 h 706"/>
                <a:gd name="T6" fmla="*/ 2147 w 2147"/>
                <a:gd name="T7" fmla="*/ 706 h 706"/>
                <a:gd name="T8" fmla="*/ 2147 w 2147"/>
                <a:gd name="T9" fmla="*/ 299 h 706"/>
                <a:gd name="T10" fmla="*/ 1073 w 2147"/>
                <a:gd name="T11" fmla="*/ 0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47" h="706">
                  <a:moveTo>
                    <a:pt x="1073" y="0"/>
                  </a:moveTo>
                  <a:cubicBezTo>
                    <a:pt x="480" y="0"/>
                    <a:pt x="0" y="134"/>
                    <a:pt x="0" y="299"/>
                  </a:cubicBezTo>
                  <a:cubicBezTo>
                    <a:pt x="0" y="706"/>
                    <a:pt x="0" y="706"/>
                    <a:pt x="0" y="706"/>
                  </a:cubicBezTo>
                  <a:cubicBezTo>
                    <a:pt x="2147" y="706"/>
                    <a:pt x="2147" y="706"/>
                    <a:pt x="2147" y="706"/>
                  </a:cubicBezTo>
                  <a:cubicBezTo>
                    <a:pt x="2147" y="299"/>
                    <a:pt x="2147" y="299"/>
                    <a:pt x="2147" y="299"/>
                  </a:cubicBezTo>
                  <a:cubicBezTo>
                    <a:pt x="2147" y="134"/>
                    <a:pt x="1666" y="0"/>
                    <a:pt x="1073" y="0"/>
                  </a:cubicBezTo>
                  <a:close/>
                </a:path>
              </a:pathLst>
            </a:cu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9" name="Oval 8"/>
            <p:cNvSpPr>
              <a:spLocks noChangeArrowheads="1"/>
            </p:cNvSpPr>
            <p:nvPr/>
          </p:nvSpPr>
          <p:spPr bwMode="auto">
            <a:xfrm>
              <a:off x="-13004800" y="-811213"/>
              <a:ext cx="8061325" cy="2244725"/>
            </a:xfrm>
            <a:prstGeom prst="ellipse">
              <a:avLst/>
            </a:prstGeom>
            <a:solidFill>
              <a:srgbClr val="38906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1416775" y="3212192"/>
            <a:ext cx="2772067" cy="1453622"/>
            <a:chOff x="-12885738" y="-374650"/>
            <a:chExt cx="6218238" cy="3260726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66" name="Freeform 12"/>
            <p:cNvSpPr>
              <a:spLocks/>
            </p:cNvSpPr>
            <p:nvPr/>
          </p:nvSpPr>
          <p:spPr bwMode="auto">
            <a:xfrm>
              <a:off x="-12885738" y="-374650"/>
              <a:ext cx="6218238" cy="2446338"/>
            </a:xfrm>
            <a:custGeom>
              <a:avLst/>
              <a:gdLst>
                <a:gd name="T0" fmla="*/ 828 w 1656"/>
                <a:gd name="T1" fmla="*/ 0 h 652"/>
                <a:gd name="T2" fmla="*/ 0 w 1656"/>
                <a:gd name="T3" fmla="*/ 232 h 652"/>
                <a:gd name="T4" fmla="*/ 0 w 1656"/>
                <a:gd name="T5" fmla="*/ 652 h 652"/>
                <a:gd name="T6" fmla="*/ 1656 w 1656"/>
                <a:gd name="T7" fmla="*/ 652 h 652"/>
                <a:gd name="T8" fmla="*/ 1656 w 1656"/>
                <a:gd name="T9" fmla="*/ 232 h 652"/>
                <a:gd name="T10" fmla="*/ 828 w 1656"/>
                <a:gd name="T11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6" h="652">
                  <a:moveTo>
                    <a:pt x="828" y="0"/>
                  </a:moveTo>
                  <a:cubicBezTo>
                    <a:pt x="371" y="0"/>
                    <a:pt x="0" y="104"/>
                    <a:pt x="0" y="232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656" y="652"/>
                    <a:pt x="1656" y="652"/>
                    <a:pt x="1656" y="652"/>
                  </a:cubicBezTo>
                  <a:cubicBezTo>
                    <a:pt x="1656" y="232"/>
                    <a:pt x="1656" y="232"/>
                    <a:pt x="1656" y="232"/>
                  </a:cubicBezTo>
                  <a:cubicBezTo>
                    <a:pt x="1656" y="104"/>
                    <a:pt x="1286" y="0"/>
                    <a:pt x="828" y="0"/>
                  </a:cubicBezTo>
                  <a:close/>
                </a:path>
              </a:pathLst>
            </a:cu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7" name="Oval 7"/>
            <p:cNvSpPr>
              <a:spLocks noChangeArrowheads="1"/>
            </p:cNvSpPr>
            <p:nvPr/>
          </p:nvSpPr>
          <p:spPr bwMode="auto">
            <a:xfrm>
              <a:off x="-12885738" y="1144588"/>
              <a:ext cx="6218238" cy="1741488"/>
            </a:xfrm>
            <a:prstGeom prst="ellipse">
              <a:avLst/>
            </a:prstGeom>
            <a:solidFill>
              <a:srgbClr val="FE8D26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1490374" y="4095405"/>
            <a:ext cx="1941933" cy="1211584"/>
            <a:chOff x="-12720638" y="1606550"/>
            <a:chExt cx="4356100" cy="271780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-12720638" y="1606550"/>
              <a:ext cx="4356100" cy="2098675"/>
            </a:xfrm>
            <a:custGeom>
              <a:avLst/>
              <a:gdLst>
                <a:gd name="T0" fmla="*/ 1160 w 1160"/>
                <a:gd name="T1" fmla="*/ 166 h 559"/>
                <a:gd name="T2" fmla="*/ 580 w 1160"/>
                <a:gd name="T3" fmla="*/ 0 h 559"/>
                <a:gd name="T4" fmla="*/ 0 w 1160"/>
                <a:gd name="T5" fmla="*/ 166 h 559"/>
                <a:gd name="T6" fmla="*/ 4 w 1160"/>
                <a:gd name="T7" fmla="*/ 559 h 559"/>
                <a:gd name="T8" fmla="*/ 1156 w 1160"/>
                <a:gd name="T9" fmla="*/ 559 h 559"/>
                <a:gd name="T10" fmla="*/ 1160 w 1160"/>
                <a:gd name="T11" fmla="*/ 166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0" h="559">
                  <a:moveTo>
                    <a:pt x="1160" y="166"/>
                  </a:moveTo>
                  <a:cubicBezTo>
                    <a:pt x="1160" y="74"/>
                    <a:pt x="900" y="0"/>
                    <a:pt x="580" y="0"/>
                  </a:cubicBezTo>
                  <a:cubicBezTo>
                    <a:pt x="260" y="0"/>
                    <a:pt x="0" y="74"/>
                    <a:pt x="0" y="166"/>
                  </a:cubicBezTo>
                  <a:cubicBezTo>
                    <a:pt x="0" y="173"/>
                    <a:pt x="4" y="559"/>
                    <a:pt x="4" y="559"/>
                  </a:cubicBezTo>
                  <a:cubicBezTo>
                    <a:pt x="1156" y="559"/>
                    <a:pt x="1156" y="559"/>
                    <a:pt x="1156" y="559"/>
                  </a:cubicBezTo>
                  <a:cubicBezTo>
                    <a:pt x="1156" y="559"/>
                    <a:pt x="1160" y="173"/>
                    <a:pt x="1160" y="166"/>
                  </a:cubicBezTo>
                  <a:close/>
                </a:path>
              </a:pathLst>
            </a:custGeom>
            <a:solidFill>
              <a:srgbClr val="AAAAAA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5" name="Oval 6"/>
            <p:cNvSpPr>
              <a:spLocks noChangeArrowheads="1"/>
            </p:cNvSpPr>
            <p:nvPr/>
          </p:nvSpPr>
          <p:spPr bwMode="auto">
            <a:xfrm>
              <a:off x="-12712700" y="3086100"/>
              <a:ext cx="4325938" cy="1238250"/>
            </a:xfrm>
            <a:prstGeom prst="ellipse">
              <a:avLst/>
            </a:prstGeom>
            <a:solidFill>
              <a:srgbClr val="7C7C7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97" name="Oval 8"/>
          <p:cNvSpPr>
            <a:spLocks noChangeArrowheads="1"/>
          </p:cNvSpPr>
          <p:nvPr/>
        </p:nvSpPr>
        <p:spPr bwMode="auto">
          <a:xfrm>
            <a:off x="3220764" y="1492427"/>
            <a:ext cx="570290" cy="577400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8" name="Oval 8"/>
          <p:cNvSpPr>
            <a:spLocks noChangeArrowheads="1"/>
          </p:cNvSpPr>
          <p:nvPr/>
        </p:nvSpPr>
        <p:spPr bwMode="auto">
          <a:xfrm>
            <a:off x="2875405" y="2388549"/>
            <a:ext cx="570290" cy="577400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9" name="Oval 8"/>
          <p:cNvSpPr>
            <a:spLocks noChangeArrowheads="1"/>
          </p:cNvSpPr>
          <p:nvPr/>
        </p:nvSpPr>
        <p:spPr bwMode="auto">
          <a:xfrm>
            <a:off x="2517663" y="3263045"/>
            <a:ext cx="570290" cy="577400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0" name="Oval 8"/>
          <p:cNvSpPr>
            <a:spLocks noChangeArrowheads="1"/>
          </p:cNvSpPr>
          <p:nvPr/>
        </p:nvSpPr>
        <p:spPr bwMode="auto">
          <a:xfrm>
            <a:off x="2176196" y="4132998"/>
            <a:ext cx="570290" cy="577400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05" name="Group 104"/>
          <p:cNvGrpSpPr/>
          <p:nvPr/>
        </p:nvGrpSpPr>
        <p:grpSpPr>
          <a:xfrm>
            <a:off x="7375324" y="2136543"/>
            <a:ext cx="3538613" cy="591354"/>
            <a:chOff x="5305424" y="2321834"/>
            <a:chExt cx="3016158" cy="504044"/>
          </a:xfrm>
        </p:grpSpPr>
        <p:sp>
          <p:nvSpPr>
            <p:cNvPr id="115" name="TextBox 114"/>
            <p:cNvSpPr txBox="1"/>
            <p:nvPr/>
          </p:nvSpPr>
          <p:spPr>
            <a:xfrm>
              <a:off x="5305426" y="2537310"/>
              <a:ext cx="3016156" cy="2885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/>
                <a:t>Lorem </a:t>
              </a:r>
              <a:r>
                <a:rPr lang="en-US" sz="1100" dirty="0" err="1"/>
                <a:t>Ipsum</a:t>
              </a:r>
              <a:r>
                <a:rPr lang="en-US" sz="1100" dirty="0"/>
                <a:t> is simply dummy text of the printing and typesetting industry. Lorem </a:t>
              </a:r>
              <a:r>
                <a:rPr lang="en-US" sz="1100" dirty="0" err="1"/>
                <a:t>Ipsum</a:t>
              </a:r>
              <a:r>
                <a:rPr lang="en-US" sz="1100" dirty="0"/>
                <a:t> has been the </a:t>
              </a:r>
              <a:r>
                <a:rPr lang="en-US" sz="1100" dirty="0" smtClean="0"/>
                <a:t>industry's</a:t>
              </a:r>
              <a:endParaRPr lang="en-US" sz="1100" dirty="0"/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5305424" y="2321834"/>
              <a:ext cx="1533703" cy="2098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 smtClean="0">
                  <a:solidFill>
                    <a:srgbClr val="016AA3"/>
                  </a:solidFill>
                </a:rPr>
                <a:t>LOREM IPSUM</a:t>
              </a:r>
              <a:endParaRPr lang="en-US" sz="1600" b="1" dirty="0">
                <a:solidFill>
                  <a:srgbClr val="016AA3"/>
                </a:solidFill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7375326" y="2897878"/>
            <a:ext cx="3538611" cy="584774"/>
            <a:chOff x="5305426" y="2321834"/>
            <a:chExt cx="3016156" cy="498435"/>
          </a:xfrm>
        </p:grpSpPr>
        <p:sp>
          <p:nvSpPr>
            <p:cNvPr id="113" name="TextBox 112"/>
            <p:cNvSpPr txBox="1"/>
            <p:nvPr/>
          </p:nvSpPr>
          <p:spPr>
            <a:xfrm>
              <a:off x="5305426" y="2531701"/>
              <a:ext cx="3016156" cy="2885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/>
                <a:t>Lorem </a:t>
              </a:r>
              <a:r>
                <a:rPr lang="en-US" sz="1100" dirty="0" err="1"/>
                <a:t>Ipsum</a:t>
              </a:r>
              <a:r>
                <a:rPr lang="en-US" sz="1100" dirty="0"/>
                <a:t> is simply dummy text of the printing and typesetting industry. Lorem </a:t>
              </a:r>
              <a:r>
                <a:rPr lang="en-US" sz="1100" dirty="0" err="1"/>
                <a:t>Ipsum</a:t>
              </a:r>
              <a:r>
                <a:rPr lang="en-US" sz="1100" dirty="0"/>
                <a:t> has been the </a:t>
              </a:r>
              <a:r>
                <a:rPr lang="en-US" sz="1100" dirty="0" smtClean="0"/>
                <a:t>industry's</a:t>
              </a:r>
              <a:endParaRPr lang="en-US" sz="1100" dirty="0"/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5305426" y="2321834"/>
              <a:ext cx="1533702" cy="2098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rgbClr val="46B688"/>
                  </a:solidFill>
                </a:rPr>
                <a:t>LOREM IPSUM</a:t>
              </a:r>
              <a:endParaRPr lang="en-US" sz="1600" b="1" dirty="0">
                <a:solidFill>
                  <a:srgbClr val="46B688"/>
                </a:solidFill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7375325" y="3659206"/>
            <a:ext cx="3538612" cy="592053"/>
            <a:chOff x="5305425" y="2321834"/>
            <a:chExt cx="3016157" cy="504640"/>
          </a:xfrm>
        </p:grpSpPr>
        <p:sp>
          <p:nvSpPr>
            <p:cNvPr id="111" name="TextBox 110"/>
            <p:cNvSpPr txBox="1"/>
            <p:nvPr/>
          </p:nvSpPr>
          <p:spPr>
            <a:xfrm>
              <a:off x="5305426" y="2537906"/>
              <a:ext cx="3016156" cy="2885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/>
                <a:t>Lorem </a:t>
              </a:r>
              <a:r>
                <a:rPr lang="en-US" sz="1100" dirty="0" err="1"/>
                <a:t>Ipsum</a:t>
              </a:r>
              <a:r>
                <a:rPr lang="en-US" sz="1100" dirty="0"/>
                <a:t> is simply dummy text of the printing and typesetting industry. Lorem </a:t>
              </a:r>
              <a:r>
                <a:rPr lang="en-US" sz="1100" dirty="0" err="1"/>
                <a:t>Ipsum</a:t>
              </a:r>
              <a:r>
                <a:rPr lang="en-US" sz="1100" dirty="0"/>
                <a:t> has been the </a:t>
              </a:r>
              <a:r>
                <a:rPr lang="en-US" sz="1100" dirty="0" smtClean="0"/>
                <a:t>industry's</a:t>
              </a:r>
              <a:endParaRPr lang="en-US" sz="1100" dirty="0"/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5305425" y="2321834"/>
              <a:ext cx="1533702" cy="2098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rgbClr val="FEA34F"/>
                  </a:solidFill>
                </a:rPr>
                <a:t>LOREM IPSUM</a:t>
              </a:r>
              <a:endParaRPr lang="en-US" sz="1600" b="1" dirty="0">
                <a:solidFill>
                  <a:srgbClr val="FEA34F"/>
                </a:solidFill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7375325" y="4420540"/>
            <a:ext cx="3538612" cy="567385"/>
            <a:chOff x="5305425" y="2321834"/>
            <a:chExt cx="3016157" cy="483614"/>
          </a:xfrm>
        </p:grpSpPr>
        <p:sp>
          <p:nvSpPr>
            <p:cNvPr id="109" name="TextBox 108"/>
            <p:cNvSpPr txBox="1"/>
            <p:nvPr/>
          </p:nvSpPr>
          <p:spPr>
            <a:xfrm>
              <a:off x="5305426" y="2516880"/>
              <a:ext cx="3016156" cy="2885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/>
                <a:t>Lorem </a:t>
              </a:r>
              <a:r>
                <a:rPr lang="en-US" sz="1100" dirty="0" err="1"/>
                <a:t>Ipsum</a:t>
              </a:r>
              <a:r>
                <a:rPr lang="en-US" sz="1100" dirty="0"/>
                <a:t> is simply dummy text of the printing and typesetting industry. Lorem </a:t>
              </a:r>
              <a:r>
                <a:rPr lang="en-US" sz="1100" dirty="0" err="1"/>
                <a:t>Ipsum</a:t>
              </a:r>
              <a:r>
                <a:rPr lang="en-US" sz="1100" dirty="0"/>
                <a:t> has been the </a:t>
              </a:r>
              <a:r>
                <a:rPr lang="en-US" sz="1100" dirty="0" smtClean="0"/>
                <a:t>industry's</a:t>
              </a:r>
              <a:endParaRPr lang="en-US" sz="1100" dirty="0"/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305425" y="2321834"/>
              <a:ext cx="1533702" cy="20986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rgbClr val="AAAAAA"/>
                  </a:solidFill>
                </a:rPr>
                <a:t>LOREM IPSUM</a:t>
              </a:r>
              <a:endParaRPr lang="en-US" sz="1600" b="1" dirty="0">
                <a:solidFill>
                  <a:srgbClr val="AAAAAA"/>
                </a:solidFill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3363034" y="1641427"/>
            <a:ext cx="285750" cy="279400"/>
            <a:chOff x="7600950" y="3048000"/>
            <a:chExt cx="285750" cy="27940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73" name="Freeform 3039"/>
            <p:cNvSpPr>
              <a:spLocks/>
            </p:cNvSpPr>
            <p:nvPr/>
          </p:nvSpPr>
          <p:spPr bwMode="auto">
            <a:xfrm>
              <a:off x="7681913" y="3048000"/>
              <a:ext cx="123825" cy="128588"/>
            </a:xfrm>
            <a:custGeom>
              <a:avLst/>
              <a:gdLst>
                <a:gd name="T0" fmla="*/ 263 w 310"/>
                <a:gd name="T1" fmla="*/ 323 h 323"/>
                <a:gd name="T2" fmla="*/ 268 w 310"/>
                <a:gd name="T3" fmla="*/ 323 h 323"/>
                <a:gd name="T4" fmla="*/ 271 w 310"/>
                <a:gd name="T5" fmla="*/ 321 h 323"/>
                <a:gd name="T6" fmla="*/ 274 w 310"/>
                <a:gd name="T7" fmla="*/ 317 h 323"/>
                <a:gd name="T8" fmla="*/ 275 w 310"/>
                <a:gd name="T9" fmla="*/ 314 h 323"/>
                <a:gd name="T10" fmla="*/ 275 w 310"/>
                <a:gd name="T11" fmla="*/ 310 h 323"/>
                <a:gd name="T12" fmla="*/ 274 w 310"/>
                <a:gd name="T13" fmla="*/ 307 h 323"/>
                <a:gd name="T14" fmla="*/ 231 w 310"/>
                <a:gd name="T15" fmla="*/ 207 h 323"/>
                <a:gd name="T16" fmla="*/ 307 w 310"/>
                <a:gd name="T17" fmla="*/ 141 h 323"/>
                <a:gd name="T18" fmla="*/ 309 w 310"/>
                <a:gd name="T19" fmla="*/ 138 h 323"/>
                <a:gd name="T20" fmla="*/ 310 w 310"/>
                <a:gd name="T21" fmla="*/ 135 h 323"/>
                <a:gd name="T22" fmla="*/ 310 w 310"/>
                <a:gd name="T23" fmla="*/ 132 h 323"/>
                <a:gd name="T24" fmla="*/ 310 w 310"/>
                <a:gd name="T25" fmla="*/ 128 h 323"/>
                <a:gd name="T26" fmla="*/ 308 w 310"/>
                <a:gd name="T27" fmla="*/ 125 h 323"/>
                <a:gd name="T28" fmla="*/ 306 w 310"/>
                <a:gd name="T29" fmla="*/ 122 h 323"/>
                <a:gd name="T30" fmla="*/ 302 w 310"/>
                <a:gd name="T31" fmla="*/ 121 h 323"/>
                <a:gd name="T32" fmla="*/ 299 w 310"/>
                <a:gd name="T33" fmla="*/ 120 h 323"/>
                <a:gd name="T34" fmla="*/ 200 w 310"/>
                <a:gd name="T35" fmla="*/ 120 h 323"/>
                <a:gd name="T36" fmla="*/ 167 w 310"/>
                <a:gd name="T37" fmla="*/ 9 h 323"/>
                <a:gd name="T38" fmla="*/ 165 w 310"/>
                <a:gd name="T39" fmla="*/ 6 h 323"/>
                <a:gd name="T40" fmla="*/ 163 w 310"/>
                <a:gd name="T41" fmla="*/ 2 h 323"/>
                <a:gd name="T42" fmla="*/ 159 w 310"/>
                <a:gd name="T43" fmla="*/ 1 h 323"/>
                <a:gd name="T44" fmla="*/ 156 w 310"/>
                <a:gd name="T45" fmla="*/ 0 h 323"/>
                <a:gd name="T46" fmla="*/ 151 w 310"/>
                <a:gd name="T47" fmla="*/ 1 h 323"/>
                <a:gd name="T48" fmla="*/ 149 w 310"/>
                <a:gd name="T49" fmla="*/ 2 h 323"/>
                <a:gd name="T50" fmla="*/ 145 w 310"/>
                <a:gd name="T51" fmla="*/ 6 h 323"/>
                <a:gd name="T52" fmla="*/ 144 w 310"/>
                <a:gd name="T53" fmla="*/ 9 h 323"/>
                <a:gd name="T54" fmla="*/ 111 w 310"/>
                <a:gd name="T55" fmla="*/ 120 h 323"/>
                <a:gd name="T56" fmla="*/ 12 w 310"/>
                <a:gd name="T57" fmla="*/ 120 h 323"/>
                <a:gd name="T58" fmla="*/ 8 w 310"/>
                <a:gd name="T59" fmla="*/ 121 h 323"/>
                <a:gd name="T60" fmla="*/ 5 w 310"/>
                <a:gd name="T61" fmla="*/ 122 h 323"/>
                <a:gd name="T62" fmla="*/ 2 w 310"/>
                <a:gd name="T63" fmla="*/ 125 h 323"/>
                <a:gd name="T64" fmla="*/ 0 w 310"/>
                <a:gd name="T65" fmla="*/ 128 h 323"/>
                <a:gd name="T66" fmla="*/ 0 w 310"/>
                <a:gd name="T67" fmla="*/ 132 h 323"/>
                <a:gd name="T68" fmla="*/ 0 w 310"/>
                <a:gd name="T69" fmla="*/ 135 h 323"/>
                <a:gd name="T70" fmla="*/ 1 w 310"/>
                <a:gd name="T71" fmla="*/ 138 h 323"/>
                <a:gd name="T72" fmla="*/ 4 w 310"/>
                <a:gd name="T73" fmla="*/ 141 h 323"/>
                <a:gd name="T74" fmla="*/ 81 w 310"/>
                <a:gd name="T75" fmla="*/ 205 h 323"/>
                <a:gd name="T76" fmla="*/ 37 w 310"/>
                <a:gd name="T77" fmla="*/ 307 h 323"/>
                <a:gd name="T78" fmla="*/ 36 w 310"/>
                <a:gd name="T79" fmla="*/ 310 h 323"/>
                <a:gd name="T80" fmla="*/ 36 w 310"/>
                <a:gd name="T81" fmla="*/ 314 h 323"/>
                <a:gd name="T82" fmla="*/ 37 w 310"/>
                <a:gd name="T83" fmla="*/ 317 h 323"/>
                <a:gd name="T84" fmla="*/ 39 w 310"/>
                <a:gd name="T85" fmla="*/ 321 h 323"/>
                <a:gd name="T86" fmla="*/ 43 w 310"/>
                <a:gd name="T87" fmla="*/ 323 h 323"/>
                <a:gd name="T88" fmla="*/ 46 w 310"/>
                <a:gd name="T89" fmla="*/ 323 h 323"/>
                <a:gd name="T90" fmla="*/ 51 w 310"/>
                <a:gd name="T91" fmla="*/ 323 h 323"/>
                <a:gd name="T92" fmla="*/ 55 w 310"/>
                <a:gd name="T93" fmla="*/ 322 h 323"/>
                <a:gd name="T94" fmla="*/ 156 w 310"/>
                <a:gd name="T95" fmla="*/ 254 h 323"/>
                <a:gd name="T96" fmla="*/ 257 w 310"/>
                <a:gd name="T97" fmla="*/ 322 h 323"/>
                <a:gd name="T98" fmla="*/ 259 w 310"/>
                <a:gd name="T99" fmla="*/ 323 h 323"/>
                <a:gd name="T100" fmla="*/ 263 w 310"/>
                <a:gd name="T101" fmla="*/ 323 h 323"/>
                <a:gd name="T102" fmla="*/ 263 w 310"/>
                <a:gd name="T103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0" h="323">
                  <a:moveTo>
                    <a:pt x="263" y="323"/>
                  </a:moveTo>
                  <a:lnTo>
                    <a:pt x="268" y="323"/>
                  </a:lnTo>
                  <a:lnTo>
                    <a:pt x="271" y="321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4" y="307"/>
                  </a:lnTo>
                  <a:lnTo>
                    <a:pt x="231" y="207"/>
                  </a:lnTo>
                  <a:lnTo>
                    <a:pt x="307" y="141"/>
                  </a:lnTo>
                  <a:lnTo>
                    <a:pt x="309" y="138"/>
                  </a:lnTo>
                  <a:lnTo>
                    <a:pt x="310" y="135"/>
                  </a:lnTo>
                  <a:lnTo>
                    <a:pt x="310" y="132"/>
                  </a:lnTo>
                  <a:lnTo>
                    <a:pt x="310" y="128"/>
                  </a:lnTo>
                  <a:lnTo>
                    <a:pt x="308" y="125"/>
                  </a:lnTo>
                  <a:lnTo>
                    <a:pt x="306" y="122"/>
                  </a:lnTo>
                  <a:lnTo>
                    <a:pt x="302" y="121"/>
                  </a:lnTo>
                  <a:lnTo>
                    <a:pt x="299" y="120"/>
                  </a:lnTo>
                  <a:lnTo>
                    <a:pt x="200" y="120"/>
                  </a:lnTo>
                  <a:lnTo>
                    <a:pt x="167" y="9"/>
                  </a:lnTo>
                  <a:lnTo>
                    <a:pt x="165" y="6"/>
                  </a:lnTo>
                  <a:lnTo>
                    <a:pt x="163" y="2"/>
                  </a:lnTo>
                  <a:lnTo>
                    <a:pt x="159" y="1"/>
                  </a:lnTo>
                  <a:lnTo>
                    <a:pt x="156" y="0"/>
                  </a:lnTo>
                  <a:lnTo>
                    <a:pt x="151" y="1"/>
                  </a:lnTo>
                  <a:lnTo>
                    <a:pt x="149" y="2"/>
                  </a:lnTo>
                  <a:lnTo>
                    <a:pt x="145" y="6"/>
                  </a:lnTo>
                  <a:lnTo>
                    <a:pt x="144" y="9"/>
                  </a:lnTo>
                  <a:lnTo>
                    <a:pt x="111" y="120"/>
                  </a:lnTo>
                  <a:lnTo>
                    <a:pt x="12" y="120"/>
                  </a:lnTo>
                  <a:lnTo>
                    <a:pt x="8" y="121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1" y="138"/>
                  </a:lnTo>
                  <a:lnTo>
                    <a:pt x="4" y="141"/>
                  </a:lnTo>
                  <a:lnTo>
                    <a:pt x="81" y="205"/>
                  </a:lnTo>
                  <a:lnTo>
                    <a:pt x="37" y="307"/>
                  </a:lnTo>
                  <a:lnTo>
                    <a:pt x="36" y="310"/>
                  </a:lnTo>
                  <a:lnTo>
                    <a:pt x="36" y="314"/>
                  </a:lnTo>
                  <a:lnTo>
                    <a:pt x="37" y="317"/>
                  </a:lnTo>
                  <a:lnTo>
                    <a:pt x="39" y="321"/>
                  </a:lnTo>
                  <a:lnTo>
                    <a:pt x="43" y="323"/>
                  </a:lnTo>
                  <a:lnTo>
                    <a:pt x="46" y="323"/>
                  </a:lnTo>
                  <a:lnTo>
                    <a:pt x="51" y="323"/>
                  </a:lnTo>
                  <a:lnTo>
                    <a:pt x="55" y="322"/>
                  </a:lnTo>
                  <a:lnTo>
                    <a:pt x="156" y="254"/>
                  </a:lnTo>
                  <a:lnTo>
                    <a:pt x="257" y="322"/>
                  </a:lnTo>
                  <a:lnTo>
                    <a:pt x="259" y="323"/>
                  </a:lnTo>
                  <a:lnTo>
                    <a:pt x="263" y="323"/>
                  </a:lnTo>
                  <a:lnTo>
                    <a:pt x="263" y="3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040"/>
            <p:cNvSpPr>
              <a:spLocks/>
            </p:cNvSpPr>
            <p:nvPr/>
          </p:nvSpPr>
          <p:spPr bwMode="auto">
            <a:xfrm>
              <a:off x="7762875" y="3200400"/>
              <a:ext cx="123825" cy="127000"/>
            </a:xfrm>
            <a:custGeom>
              <a:avLst/>
              <a:gdLst>
                <a:gd name="T0" fmla="*/ 311 w 312"/>
                <a:gd name="T1" fmla="*/ 127 h 322"/>
                <a:gd name="T2" fmla="*/ 308 w 312"/>
                <a:gd name="T3" fmla="*/ 124 h 322"/>
                <a:gd name="T4" fmla="*/ 306 w 312"/>
                <a:gd name="T5" fmla="*/ 121 h 322"/>
                <a:gd name="T6" fmla="*/ 304 w 312"/>
                <a:gd name="T7" fmla="*/ 120 h 322"/>
                <a:gd name="T8" fmla="*/ 300 w 312"/>
                <a:gd name="T9" fmla="*/ 119 h 322"/>
                <a:gd name="T10" fmla="*/ 200 w 312"/>
                <a:gd name="T11" fmla="*/ 119 h 322"/>
                <a:gd name="T12" fmla="*/ 167 w 312"/>
                <a:gd name="T13" fmla="*/ 8 h 322"/>
                <a:gd name="T14" fmla="*/ 166 w 312"/>
                <a:gd name="T15" fmla="*/ 5 h 322"/>
                <a:gd name="T16" fmla="*/ 163 w 312"/>
                <a:gd name="T17" fmla="*/ 2 h 322"/>
                <a:gd name="T18" fmla="*/ 160 w 312"/>
                <a:gd name="T19" fmla="*/ 0 h 322"/>
                <a:gd name="T20" fmla="*/ 156 w 312"/>
                <a:gd name="T21" fmla="*/ 0 h 322"/>
                <a:gd name="T22" fmla="*/ 153 w 312"/>
                <a:gd name="T23" fmla="*/ 0 h 322"/>
                <a:gd name="T24" fmla="*/ 149 w 312"/>
                <a:gd name="T25" fmla="*/ 2 h 322"/>
                <a:gd name="T26" fmla="*/ 146 w 312"/>
                <a:gd name="T27" fmla="*/ 5 h 322"/>
                <a:gd name="T28" fmla="*/ 144 w 312"/>
                <a:gd name="T29" fmla="*/ 8 h 322"/>
                <a:gd name="T30" fmla="*/ 111 w 312"/>
                <a:gd name="T31" fmla="*/ 119 h 322"/>
                <a:gd name="T32" fmla="*/ 12 w 312"/>
                <a:gd name="T33" fmla="*/ 119 h 322"/>
                <a:gd name="T34" fmla="*/ 9 w 312"/>
                <a:gd name="T35" fmla="*/ 120 h 322"/>
                <a:gd name="T36" fmla="*/ 5 w 312"/>
                <a:gd name="T37" fmla="*/ 121 h 322"/>
                <a:gd name="T38" fmla="*/ 3 w 312"/>
                <a:gd name="T39" fmla="*/ 124 h 322"/>
                <a:gd name="T40" fmla="*/ 0 w 312"/>
                <a:gd name="T41" fmla="*/ 127 h 322"/>
                <a:gd name="T42" fmla="*/ 0 w 312"/>
                <a:gd name="T43" fmla="*/ 131 h 322"/>
                <a:gd name="T44" fmla="*/ 0 w 312"/>
                <a:gd name="T45" fmla="*/ 134 h 322"/>
                <a:gd name="T46" fmla="*/ 2 w 312"/>
                <a:gd name="T47" fmla="*/ 138 h 322"/>
                <a:gd name="T48" fmla="*/ 4 w 312"/>
                <a:gd name="T49" fmla="*/ 140 h 322"/>
                <a:gd name="T50" fmla="*/ 81 w 312"/>
                <a:gd name="T51" fmla="*/ 204 h 322"/>
                <a:gd name="T52" fmla="*/ 37 w 312"/>
                <a:gd name="T53" fmla="*/ 306 h 322"/>
                <a:gd name="T54" fmla="*/ 36 w 312"/>
                <a:gd name="T55" fmla="*/ 309 h 322"/>
                <a:gd name="T56" fmla="*/ 36 w 312"/>
                <a:gd name="T57" fmla="*/ 314 h 322"/>
                <a:gd name="T58" fmla="*/ 38 w 312"/>
                <a:gd name="T59" fmla="*/ 317 h 322"/>
                <a:gd name="T60" fmla="*/ 41 w 312"/>
                <a:gd name="T61" fmla="*/ 320 h 322"/>
                <a:gd name="T62" fmla="*/ 43 w 312"/>
                <a:gd name="T63" fmla="*/ 322 h 322"/>
                <a:gd name="T64" fmla="*/ 48 w 312"/>
                <a:gd name="T65" fmla="*/ 322 h 322"/>
                <a:gd name="T66" fmla="*/ 52 w 312"/>
                <a:gd name="T67" fmla="*/ 322 h 322"/>
                <a:gd name="T68" fmla="*/ 55 w 312"/>
                <a:gd name="T69" fmla="*/ 321 h 322"/>
                <a:gd name="T70" fmla="*/ 156 w 312"/>
                <a:gd name="T71" fmla="*/ 253 h 322"/>
                <a:gd name="T72" fmla="*/ 257 w 312"/>
                <a:gd name="T73" fmla="*/ 321 h 322"/>
                <a:gd name="T74" fmla="*/ 260 w 312"/>
                <a:gd name="T75" fmla="*/ 322 h 322"/>
                <a:gd name="T76" fmla="*/ 263 w 312"/>
                <a:gd name="T77" fmla="*/ 322 h 322"/>
                <a:gd name="T78" fmla="*/ 268 w 312"/>
                <a:gd name="T79" fmla="*/ 322 h 322"/>
                <a:gd name="T80" fmla="*/ 272 w 312"/>
                <a:gd name="T81" fmla="*/ 320 h 322"/>
                <a:gd name="T82" fmla="*/ 274 w 312"/>
                <a:gd name="T83" fmla="*/ 317 h 322"/>
                <a:gd name="T84" fmla="*/ 275 w 312"/>
                <a:gd name="T85" fmla="*/ 314 h 322"/>
                <a:gd name="T86" fmla="*/ 275 w 312"/>
                <a:gd name="T87" fmla="*/ 310 h 322"/>
                <a:gd name="T88" fmla="*/ 275 w 312"/>
                <a:gd name="T89" fmla="*/ 306 h 322"/>
                <a:gd name="T90" fmla="*/ 231 w 312"/>
                <a:gd name="T91" fmla="*/ 207 h 322"/>
                <a:gd name="T92" fmla="*/ 307 w 312"/>
                <a:gd name="T93" fmla="*/ 140 h 322"/>
                <a:gd name="T94" fmla="*/ 310 w 312"/>
                <a:gd name="T95" fmla="*/ 138 h 322"/>
                <a:gd name="T96" fmla="*/ 311 w 312"/>
                <a:gd name="T97" fmla="*/ 134 h 322"/>
                <a:gd name="T98" fmla="*/ 312 w 312"/>
                <a:gd name="T99" fmla="*/ 131 h 322"/>
                <a:gd name="T100" fmla="*/ 311 w 312"/>
                <a:gd name="T101" fmla="*/ 12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11" y="127"/>
                  </a:moveTo>
                  <a:lnTo>
                    <a:pt x="308" y="124"/>
                  </a:lnTo>
                  <a:lnTo>
                    <a:pt x="306" y="121"/>
                  </a:lnTo>
                  <a:lnTo>
                    <a:pt x="304" y="120"/>
                  </a:lnTo>
                  <a:lnTo>
                    <a:pt x="300" y="119"/>
                  </a:lnTo>
                  <a:lnTo>
                    <a:pt x="200" y="119"/>
                  </a:lnTo>
                  <a:lnTo>
                    <a:pt x="167" y="8"/>
                  </a:lnTo>
                  <a:lnTo>
                    <a:pt x="166" y="5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6" y="5"/>
                  </a:lnTo>
                  <a:lnTo>
                    <a:pt x="144" y="8"/>
                  </a:lnTo>
                  <a:lnTo>
                    <a:pt x="111" y="119"/>
                  </a:lnTo>
                  <a:lnTo>
                    <a:pt x="12" y="119"/>
                  </a:lnTo>
                  <a:lnTo>
                    <a:pt x="9" y="120"/>
                  </a:lnTo>
                  <a:lnTo>
                    <a:pt x="5" y="121"/>
                  </a:lnTo>
                  <a:lnTo>
                    <a:pt x="3" y="124"/>
                  </a:lnTo>
                  <a:lnTo>
                    <a:pt x="0" y="127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2" y="138"/>
                  </a:lnTo>
                  <a:lnTo>
                    <a:pt x="4" y="140"/>
                  </a:lnTo>
                  <a:lnTo>
                    <a:pt x="81" y="204"/>
                  </a:lnTo>
                  <a:lnTo>
                    <a:pt x="37" y="306"/>
                  </a:lnTo>
                  <a:lnTo>
                    <a:pt x="36" y="309"/>
                  </a:lnTo>
                  <a:lnTo>
                    <a:pt x="36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3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0" y="322"/>
                  </a:lnTo>
                  <a:lnTo>
                    <a:pt x="263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7" y="140"/>
                  </a:lnTo>
                  <a:lnTo>
                    <a:pt x="310" y="138"/>
                  </a:lnTo>
                  <a:lnTo>
                    <a:pt x="311" y="134"/>
                  </a:lnTo>
                  <a:lnTo>
                    <a:pt x="312" y="131"/>
                  </a:lnTo>
                  <a:lnTo>
                    <a:pt x="311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041"/>
            <p:cNvSpPr>
              <a:spLocks/>
            </p:cNvSpPr>
            <p:nvPr/>
          </p:nvSpPr>
          <p:spPr bwMode="auto">
            <a:xfrm>
              <a:off x="7600950" y="3200400"/>
              <a:ext cx="123825" cy="127000"/>
            </a:xfrm>
            <a:custGeom>
              <a:avLst/>
              <a:gdLst>
                <a:gd name="T0" fmla="*/ 300 w 312"/>
                <a:gd name="T1" fmla="*/ 119 h 322"/>
                <a:gd name="T2" fmla="*/ 201 w 312"/>
                <a:gd name="T3" fmla="*/ 119 h 322"/>
                <a:gd name="T4" fmla="*/ 168 w 312"/>
                <a:gd name="T5" fmla="*/ 8 h 322"/>
                <a:gd name="T6" fmla="*/ 167 w 312"/>
                <a:gd name="T7" fmla="*/ 5 h 322"/>
                <a:gd name="T8" fmla="*/ 163 w 312"/>
                <a:gd name="T9" fmla="*/ 2 h 322"/>
                <a:gd name="T10" fmla="*/ 161 w 312"/>
                <a:gd name="T11" fmla="*/ 0 h 322"/>
                <a:gd name="T12" fmla="*/ 156 w 312"/>
                <a:gd name="T13" fmla="*/ 0 h 322"/>
                <a:gd name="T14" fmla="*/ 153 w 312"/>
                <a:gd name="T15" fmla="*/ 0 h 322"/>
                <a:gd name="T16" fmla="*/ 149 w 312"/>
                <a:gd name="T17" fmla="*/ 2 h 322"/>
                <a:gd name="T18" fmla="*/ 147 w 312"/>
                <a:gd name="T19" fmla="*/ 5 h 322"/>
                <a:gd name="T20" fmla="*/ 146 w 312"/>
                <a:gd name="T21" fmla="*/ 8 h 322"/>
                <a:gd name="T22" fmla="*/ 112 w 312"/>
                <a:gd name="T23" fmla="*/ 119 h 322"/>
                <a:gd name="T24" fmla="*/ 13 w 312"/>
                <a:gd name="T25" fmla="*/ 119 h 322"/>
                <a:gd name="T26" fmla="*/ 9 w 312"/>
                <a:gd name="T27" fmla="*/ 120 h 322"/>
                <a:gd name="T28" fmla="*/ 6 w 312"/>
                <a:gd name="T29" fmla="*/ 121 h 322"/>
                <a:gd name="T30" fmla="*/ 4 w 312"/>
                <a:gd name="T31" fmla="*/ 124 h 322"/>
                <a:gd name="T32" fmla="*/ 2 w 312"/>
                <a:gd name="T33" fmla="*/ 127 h 322"/>
                <a:gd name="T34" fmla="*/ 0 w 312"/>
                <a:gd name="T35" fmla="*/ 131 h 322"/>
                <a:gd name="T36" fmla="*/ 2 w 312"/>
                <a:gd name="T37" fmla="*/ 134 h 322"/>
                <a:gd name="T38" fmla="*/ 3 w 312"/>
                <a:gd name="T39" fmla="*/ 138 h 322"/>
                <a:gd name="T40" fmla="*/ 5 w 312"/>
                <a:gd name="T41" fmla="*/ 140 h 322"/>
                <a:gd name="T42" fmla="*/ 82 w 312"/>
                <a:gd name="T43" fmla="*/ 204 h 322"/>
                <a:gd name="T44" fmla="*/ 38 w 312"/>
                <a:gd name="T45" fmla="*/ 306 h 322"/>
                <a:gd name="T46" fmla="*/ 37 w 312"/>
                <a:gd name="T47" fmla="*/ 309 h 322"/>
                <a:gd name="T48" fmla="*/ 37 w 312"/>
                <a:gd name="T49" fmla="*/ 314 h 322"/>
                <a:gd name="T50" fmla="*/ 38 w 312"/>
                <a:gd name="T51" fmla="*/ 317 h 322"/>
                <a:gd name="T52" fmla="*/ 41 w 312"/>
                <a:gd name="T53" fmla="*/ 320 h 322"/>
                <a:gd name="T54" fmla="*/ 44 w 312"/>
                <a:gd name="T55" fmla="*/ 322 h 322"/>
                <a:gd name="T56" fmla="*/ 48 w 312"/>
                <a:gd name="T57" fmla="*/ 322 h 322"/>
                <a:gd name="T58" fmla="*/ 52 w 312"/>
                <a:gd name="T59" fmla="*/ 322 h 322"/>
                <a:gd name="T60" fmla="*/ 55 w 312"/>
                <a:gd name="T61" fmla="*/ 321 h 322"/>
                <a:gd name="T62" fmla="*/ 156 w 312"/>
                <a:gd name="T63" fmla="*/ 253 h 322"/>
                <a:gd name="T64" fmla="*/ 257 w 312"/>
                <a:gd name="T65" fmla="*/ 321 h 322"/>
                <a:gd name="T66" fmla="*/ 261 w 312"/>
                <a:gd name="T67" fmla="*/ 322 h 322"/>
                <a:gd name="T68" fmla="*/ 264 w 312"/>
                <a:gd name="T69" fmla="*/ 322 h 322"/>
                <a:gd name="T70" fmla="*/ 268 w 312"/>
                <a:gd name="T71" fmla="*/ 322 h 322"/>
                <a:gd name="T72" fmla="*/ 272 w 312"/>
                <a:gd name="T73" fmla="*/ 320 h 322"/>
                <a:gd name="T74" fmla="*/ 275 w 312"/>
                <a:gd name="T75" fmla="*/ 317 h 322"/>
                <a:gd name="T76" fmla="*/ 276 w 312"/>
                <a:gd name="T77" fmla="*/ 314 h 322"/>
                <a:gd name="T78" fmla="*/ 276 w 312"/>
                <a:gd name="T79" fmla="*/ 310 h 322"/>
                <a:gd name="T80" fmla="*/ 275 w 312"/>
                <a:gd name="T81" fmla="*/ 306 h 322"/>
                <a:gd name="T82" fmla="*/ 231 w 312"/>
                <a:gd name="T83" fmla="*/ 207 h 322"/>
                <a:gd name="T84" fmla="*/ 308 w 312"/>
                <a:gd name="T85" fmla="*/ 140 h 322"/>
                <a:gd name="T86" fmla="*/ 311 w 312"/>
                <a:gd name="T87" fmla="*/ 138 h 322"/>
                <a:gd name="T88" fmla="*/ 312 w 312"/>
                <a:gd name="T89" fmla="*/ 134 h 322"/>
                <a:gd name="T90" fmla="*/ 312 w 312"/>
                <a:gd name="T91" fmla="*/ 131 h 322"/>
                <a:gd name="T92" fmla="*/ 312 w 312"/>
                <a:gd name="T93" fmla="*/ 127 h 322"/>
                <a:gd name="T94" fmla="*/ 310 w 312"/>
                <a:gd name="T95" fmla="*/ 124 h 322"/>
                <a:gd name="T96" fmla="*/ 307 w 312"/>
                <a:gd name="T97" fmla="*/ 121 h 322"/>
                <a:gd name="T98" fmla="*/ 304 w 312"/>
                <a:gd name="T99" fmla="*/ 120 h 322"/>
                <a:gd name="T100" fmla="*/ 300 w 312"/>
                <a:gd name="T101" fmla="*/ 11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00" y="119"/>
                  </a:moveTo>
                  <a:lnTo>
                    <a:pt x="201" y="119"/>
                  </a:lnTo>
                  <a:lnTo>
                    <a:pt x="168" y="8"/>
                  </a:lnTo>
                  <a:lnTo>
                    <a:pt x="167" y="5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7" y="5"/>
                  </a:lnTo>
                  <a:lnTo>
                    <a:pt x="146" y="8"/>
                  </a:lnTo>
                  <a:lnTo>
                    <a:pt x="112" y="119"/>
                  </a:lnTo>
                  <a:lnTo>
                    <a:pt x="13" y="119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4"/>
                  </a:lnTo>
                  <a:lnTo>
                    <a:pt x="2" y="127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3" y="138"/>
                  </a:lnTo>
                  <a:lnTo>
                    <a:pt x="5" y="140"/>
                  </a:lnTo>
                  <a:lnTo>
                    <a:pt x="82" y="204"/>
                  </a:lnTo>
                  <a:lnTo>
                    <a:pt x="38" y="306"/>
                  </a:lnTo>
                  <a:lnTo>
                    <a:pt x="37" y="309"/>
                  </a:lnTo>
                  <a:lnTo>
                    <a:pt x="37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4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1" y="322"/>
                  </a:lnTo>
                  <a:lnTo>
                    <a:pt x="264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5" y="317"/>
                  </a:lnTo>
                  <a:lnTo>
                    <a:pt x="276" y="314"/>
                  </a:lnTo>
                  <a:lnTo>
                    <a:pt x="276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8" y="140"/>
                  </a:lnTo>
                  <a:lnTo>
                    <a:pt x="311" y="138"/>
                  </a:lnTo>
                  <a:lnTo>
                    <a:pt x="312" y="134"/>
                  </a:lnTo>
                  <a:lnTo>
                    <a:pt x="312" y="131"/>
                  </a:lnTo>
                  <a:lnTo>
                    <a:pt x="312" y="127"/>
                  </a:lnTo>
                  <a:lnTo>
                    <a:pt x="310" y="124"/>
                  </a:lnTo>
                  <a:lnTo>
                    <a:pt x="307" y="121"/>
                  </a:lnTo>
                  <a:lnTo>
                    <a:pt x="304" y="120"/>
                  </a:lnTo>
                  <a:lnTo>
                    <a:pt x="30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6" name="Group 175"/>
          <p:cNvGrpSpPr/>
          <p:nvPr/>
        </p:nvGrpSpPr>
        <p:grpSpPr>
          <a:xfrm>
            <a:off x="2317672" y="4311367"/>
            <a:ext cx="287338" cy="220663"/>
            <a:chOff x="1450975" y="2559050"/>
            <a:chExt cx="287338" cy="220663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77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2" name="Freeform 3391"/>
          <p:cNvSpPr>
            <a:spLocks noEditPoints="1"/>
          </p:cNvSpPr>
          <p:nvPr/>
        </p:nvSpPr>
        <p:spPr bwMode="auto">
          <a:xfrm>
            <a:off x="3017306" y="2534374"/>
            <a:ext cx="285750" cy="285750"/>
          </a:xfrm>
          <a:custGeom>
            <a:avLst/>
            <a:gdLst>
              <a:gd name="T0" fmla="*/ 400 w 721"/>
              <a:gd name="T1" fmla="*/ 502 h 721"/>
              <a:gd name="T2" fmla="*/ 441 w 721"/>
              <a:gd name="T3" fmla="*/ 487 h 721"/>
              <a:gd name="T4" fmla="*/ 456 w 721"/>
              <a:gd name="T5" fmla="*/ 469 h 721"/>
              <a:gd name="T6" fmla="*/ 477 w 721"/>
              <a:gd name="T7" fmla="*/ 475 h 721"/>
              <a:gd name="T8" fmla="*/ 498 w 721"/>
              <a:gd name="T9" fmla="*/ 505 h 721"/>
              <a:gd name="T10" fmla="*/ 361 w 721"/>
              <a:gd name="T11" fmla="*/ 709 h 721"/>
              <a:gd name="T12" fmla="*/ 315 w 721"/>
              <a:gd name="T13" fmla="*/ 654 h 721"/>
              <a:gd name="T14" fmla="*/ 347 w 721"/>
              <a:gd name="T15" fmla="*/ 606 h 721"/>
              <a:gd name="T16" fmla="*/ 365 w 721"/>
              <a:gd name="T17" fmla="*/ 601 h 721"/>
              <a:gd name="T18" fmla="*/ 387 w 721"/>
              <a:gd name="T19" fmla="*/ 623 h 721"/>
              <a:gd name="T20" fmla="*/ 415 w 721"/>
              <a:gd name="T21" fmla="*/ 691 h 721"/>
              <a:gd name="T22" fmla="*/ 225 w 721"/>
              <a:gd name="T23" fmla="*/ 505 h 721"/>
              <a:gd name="T24" fmla="*/ 245 w 721"/>
              <a:gd name="T25" fmla="*/ 477 h 721"/>
              <a:gd name="T26" fmla="*/ 265 w 721"/>
              <a:gd name="T27" fmla="*/ 469 h 721"/>
              <a:gd name="T28" fmla="*/ 280 w 721"/>
              <a:gd name="T29" fmla="*/ 487 h 721"/>
              <a:gd name="T30" fmla="*/ 321 w 721"/>
              <a:gd name="T31" fmla="*/ 502 h 721"/>
              <a:gd name="T32" fmla="*/ 222 w 721"/>
              <a:gd name="T33" fmla="*/ 511 h 721"/>
              <a:gd name="T34" fmla="*/ 397 w 721"/>
              <a:gd name="T35" fmla="*/ 541 h 721"/>
              <a:gd name="T36" fmla="*/ 385 w 721"/>
              <a:gd name="T37" fmla="*/ 565 h 721"/>
              <a:gd name="T38" fmla="*/ 361 w 721"/>
              <a:gd name="T39" fmla="*/ 577 h 721"/>
              <a:gd name="T40" fmla="*/ 335 w 721"/>
              <a:gd name="T41" fmla="*/ 565 h 721"/>
              <a:gd name="T42" fmla="*/ 325 w 721"/>
              <a:gd name="T43" fmla="*/ 541 h 721"/>
              <a:gd name="T44" fmla="*/ 681 w 721"/>
              <a:gd name="T45" fmla="*/ 552 h 721"/>
              <a:gd name="T46" fmla="*/ 633 w 721"/>
              <a:gd name="T47" fmla="*/ 522 h 721"/>
              <a:gd name="T48" fmla="*/ 524 w 721"/>
              <a:gd name="T49" fmla="*/ 477 h 721"/>
              <a:gd name="T50" fmla="*/ 484 w 721"/>
              <a:gd name="T51" fmla="*/ 448 h 721"/>
              <a:gd name="T52" fmla="*/ 457 w 721"/>
              <a:gd name="T53" fmla="*/ 433 h 721"/>
              <a:gd name="T54" fmla="*/ 466 w 721"/>
              <a:gd name="T55" fmla="*/ 366 h 721"/>
              <a:gd name="T56" fmla="*/ 489 w 721"/>
              <a:gd name="T57" fmla="*/ 322 h 721"/>
              <a:gd name="T58" fmla="*/ 504 w 721"/>
              <a:gd name="T59" fmla="*/ 279 h 721"/>
              <a:gd name="T60" fmla="*/ 513 w 721"/>
              <a:gd name="T61" fmla="*/ 247 h 721"/>
              <a:gd name="T62" fmla="*/ 506 w 721"/>
              <a:gd name="T63" fmla="*/ 215 h 721"/>
              <a:gd name="T64" fmla="*/ 501 w 721"/>
              <a:gd name="T65" fmla="*/ 193 h 721"/>
              <a:gd name="T66" fmla="*/ 527 w 721"/>
              <a:gd name="T67" fmla="*/ 102 h 721"/>
              <a:gd name="T68" fmla="*/ 519 w 721"/>
              <a:gd name="T69" fmla="*/ 51 h 721"/>
              <a:gd name="T70" fmla="*/ 493 w 721"/>
              <a:gd name="T71" fmla="*/ 26 h 721"/>
              <a:gd name="T72" fmla="*/ 453 w 721"/>
              <a:gd name="T73" fmla="*/ 9 h 721"/>
              <a:gd name="T74" fmla="*/ 383 w 721"/>
              <a:gd name="T75" fmla="*/ 0 h 721"/>
              <a:gd name="T76" fmla="*/ 311 w 721"/>
              <a:gd name="T77" fmla="*/ 9 h 721"/>
              <a:gd name="T78" fmla="*/ 271 w 721"/>
              <a:gd name="T79" fmla="*/ 32 h 721"/>
              <a:gd name="T80" fmla="*/ 239 w 721"/>
              <a:gd name="T81" fmla="*/ 50 h 721"/>
              <a:gd name="T82" fmla="*/ 222 w 721"/>
              <a:gd name="T83" fmla="*/ 66 h 721"/>
              <a:gd name="T84" fmla="*/ 211 w 721"/>
              <a:gd name="T85" fmla="*/ 95 h 721"/>
              <a:gd name="T86" fmla="*/ 217 w 721"/>
              <a:gd name="T87" fmla="*/ 164 h 721"/>
              <a:gd name="T88" fmla="*/ 227 w 721"/>
              <a:gd name="T89" fmla="*/ 202 h 721"/>
              <a:gd name="T90" fmla="*/ 212 w 721"/>
              <a:gd name="T91" fmla="*/ 230 h 721"/>
              <a:gd name="T92" fmla="*/ 213 w 721"/>
              <a:gd name="T93" fmla="*/ 263 h 721"/>
              <a:gd name="T94" fmla="*/ 229 w 721"/>
              <a:gd name="T95" fmla="*/ 290 h 721"/>
              <a:gd name="T96" fmla="*/ 243 w 721"/>
              <a:gd name="T97" fmla="*/ 348 h 721"/>
              <a:gd name="T98" fmla="*/ 265 w 721"/>
              <a:gd name="T99" fmla="*/ 378 h 721"/>
              <a:gd name="T100" fmla="*/ 249 w 721"/>
              <a:gd name="T101" fmla="*/ 441 h 721"/>
              <a:gd name="T102" fmla="*/ 209 w 721"/>
              <a:gd name="T103" fmla="*/ 473 h 721"/>
              <a:gd name="T104" fmla="*/ 134 w 721"/>
              <a:gd name="T105" fmla="*/ 502 h 721"/>
              <a:gd name="T106" fmla="*/ 50 w 721"/>
              <a:gd name="T107" fmla="*/ 547 h 721"/>
              <a:gd name="T108" fmla="*/ 28 w 721"/>
              <a:gd name="T109" fmla="*/ 573 h 721"/>
              <a:gd name="T110" fmla="*/ 9 w 721"/>
              <a:gd name="T111" fmla="*/ 629 h 721"/>
              <a:gd name="T112" fmla="*/ 0 w 721"/>
              <a:gd name="T113" fmla="*/ 713 h 721"/>
              <a:gd name="T114" fmla="*/ 709 w 721"/>
              <a:gd name="T115" fmla="*/ 721 h 721"/>
              <a:gd name="T116" fmla="*/ 721 w 721"/>
              <a:gd name="T117" fmla="*/ 709 h 721"/>
              <a:gd name="T118" fmla="*/ 709 w 721"/>
              <a:gd name="T119" fmla="*/ 606 h 721"/>
              <a:gd name="T120" fmla="*/ 691 w 721"/>
              <a:gd name="T121" fmla="*/ 564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1" h="721">
                <a:moveTo>
                  <a:pt x="415" y="510"/>
                </a:moveTo>
                <a:lnTo>
                  <a:pt x="415" y="510"/>
                </a:lnTo>
                <a:lnTo>
                  <a:pt x="415" y="510"/>
                </a:lnTo>
                <a:lnTo>
                  <a:pt x="400" y="502"/>
                </a:lnTo>
                <a:lnTo>
                  <a:pt x="414" y="498"/>
                </a:lnTo>
                <a:lnTo>
                  <a:pt x="428" y="493"/>
                </a:lnTo>
                <a:lnTo>
                  <a:pt x="434" y="491"/>
                </a:lnTo>
                <a:lnTo>
                  <a:pt x="441" y="487"/>
                </a:lnTo>
                <a:lnTo>
                  <a:pt x="447" y="482"/>
                </a:lnTo>
                <a:lnTo>
                  <a:pt x="453" y="477"/>
                </a:lnTo>
                <a:lnTo>
                  <a:pt x="456" y="473"/>
                </a:lnTo>
                <a:lnTo>
                  <a:pt x="456" y="469"/>
                </a:lnTo>
                <a:lnTo>
                  <a:pt x="456" y="459"/>
                </a:lnTo>
                <a:lnTo>
                  <a:pt x="464" y="462"/>
                </a:lnTo>
                <a:lnTo>
                  <a:pt x="470" y="469"/>
                </a:lnTo>
                <a:lnTo>
                  <a:pt x="477" y="475"/>
                </a:lnTo>
                <a:lnTo>
                  <a:pt x="483" y="482"/>
                </a:lnTo>
                <a:lnTo>
                  <a:pt x="489" y="489"/>
                </a:lnTo>
                <a:lnTo>
                  <a:pt x="495" y="497"/>
                </a:lnTo>
                <a:lnTo>
                  <a:pt x="498" y="505"/>
                </a:lnTo>
                <a:lnTo>
                  <a:pt x="501" y="511"/>
                </a:lnTo>
                <a:lnTo>
                  <a:pt x="522" y="574"/>
                </a:lnTo>
                <a:lnTo>
                  <a:pt x="415" y="510"/>
                </a:lnTo>
                <a:close/>
                <a:moveTo>
                  <a:pt x="361" y="709"/>
                </a:moveTo>
                <a:lnTo>
                  <a:pt x="293" y="709"/>
                </a:lnTo>
                <a:lnTo>
                  <a:pt x="299" y="691"/>
                </a:lnTo>
                <a:lnTo>
                  <a:pt x="306" y="672"/>
                </a:lnTo>
                <a:lnTo>
                  <a:pt x="315" y="654"/>
                </a:lnTo>
                <a:lnTo>
                  <a:pt x="322" y="637"/>
                </a:lnTo>
                <a:lnTo>
                  <a:pt x="333" y="623"/>
                </a:lnTo>
                <a:lnTo>
                  <a:pt x="342" y="611"/>
                </a:lnTo>
                <a:lnTo>
                  <a:pt x="347" y="606"/>
                </a:lnTo>
                <a:lnTo>
                  <a:pt x="351" y="604"/>
                </a:lnTo>
                <a:lnTo>
                  <a:pt x="356" y="601"/>
                </a:lnTo>
                <a:lnTo>
                  <a:pt x="361" y="601"/>
                </a:lnTo>
                <a:lnTo>
                  <a:pt x="365" y="601"/>
                </a:lnTo>
                <a:lnTo>
                  <a:pt x="370" y="604"/>
                </a:lnTo>
                <a:lnTo>
                  <a:pt x="374" y="606"/>
                </a:lnTo>
                <a:lnTo>
                  <a:pt x="379" y="611"/>
                </a:lnTo>
                <a:lnTo>
                  <a:pt x="387" y="623"/>
                </a:lnTo>
                <a:lnTo>
                  <a:pt x="396" y="637"/>
                </a:lnTo>
                <a:lnTo>
                  <a:pt x="403" y="654"/>
                </a:lnTo>
                <a:lnTo>
                  <a:pt x="410" y="673"/>
                </a:lnTo>
                <a:lnTo>
                  <a:pt x="415" y="691"/>
                </a:lnTo>
                <a:lnTo>
                  <a:pt x="420" y="709"/>
                </a:lnTo>
                <a:lnTo>
                  <a:pt x="361" y="709"/>
                </a:lnTo>
                <a:close/>
                <a:moveTo>
                  <a:pt x="222" y="511"/>
                </a:moveTo>
                <a:lnTo>
                  <a:pt x="225" y="505"/>
                </a:lnTo>
                <a:lnTo>
                  <a:pt x="229" y="497"/>
                </a:lnTo>
                <a:lnTo>
                  <a:pt x="234" y="489"/>
                </a:lnTo>
                <a:lnTo>
                  <a:pt x="239" y="483"/>
                </a:lnTo>
                <a:lnTo>
                  <a:pt x="245" y="477"/>
                </a:lnTo>
                <a:lnTo>
                  <a:pt x="252" y="470"/>
                </a:lnTo>
                <a:lnTo>
                  <a:pt x="258" y="464"/>
                </a:lnTo>
                <a:lnTo>
                  <a:pt x="265" y="460"/>
                </a:lnTo>
                <a:lnTo>
                  <a:pt x="265" y="469"/>
                </a:lnTo>
                <a:lnTo>
                  <a:pt x="265" y="473"/>
                </a:lnTo>
                <a:lnTo>
                  <a:pt x="267" y="477"/>
                </a:lnTo>
                <a:lnTo>
                  <a:pt x="274" y="482"/>
                </a:lnTo>
                <a:lnTo>
                  <a:pt x="280" y="487"/>
                </a:lnTo>
                <a:lnTo>
                  <a:pt x="286" y="491"/>
                </a:lnTo>
                <a:lnTo>
                  <a:pt x="293" y="493"/>
                </a:lnTo>
                <a:lnTo>
                  <a:pt x="307" y="498"/>
                </a:lnTo>
                <a:lnTo>
                  <a:pt x="321" y="502"/>
                </a:lnTo>
                <a:lnTo>
                  <a:pt x="306" y="511"/>
                </a:lnTo>
                <a:lnTo>
                  <a:pt x="306" y="511"/>
                </a:lnTo>
                <a:lnTo>
                  <a:pt x="202" y="574"/>
                </a:lnTo>
                <a:lnTo>
                  <a:pt x="222" y="511"/>
                </a:lnTo>
                <a:close/>
                <a:moveTo>
                  <a:pt x="325" y="528"/>
                </a:moveTo>
                <a:lnTo>
                  <a:pt x="361" y="506"/>
                </a:lnTo>
                <a:lnTo>
                  <a:pt x="397" y="528"/>
                </a:lnTo>
                <a:lnTo>
                  <a:pt x="397" y="541"/>
                </a:lnTo>
                <a:lnTo>
                  <a:pt x="396" y="547"/>
                </a:lnTo>
                <a:lnTo>
                  <a:pt x="393" y="554"/>
                </a:lnTo>
                <a:lnTo>
                  <a:pt x="391" y="560"/>
                </a:lnTo>
                <a:lnTo>
                  <a:pt x="385" y="565"/>
                </a:lnTo>
                <a:lnTo>
                  <a:pt x="380" y="570"/>
                </a:lnTo>
                <a:lnTo>
                  <a:pt x="374" y="573"/>
                </a:lnTo>
                <a:lnTo>
                  <a:pt x="367" y="575"/>
                </a:lnTo>
                <a:lnTo>
                  <a:pt x="361" y="577"/>
                </a:lnTo>
                <a:lnTo>
                  <a:pt x="353" y="575"/>
                </a:lnTo>
                <a:lnTo>
                  <a:pt x="347" y="573"/>
                </a:lnTo>
                <a:lnTo>
                  <a:pt x="340" y="570"/>
                </a:lnTo>
                <a:lnTo>
                  <a:pt x="335" y="565"/>
                </a:lnTo>
                <a:lnTo>
                  <a:pt x="331" y="560"/>
                </a:lnTo>
                <a:lnTo>
                  <a:pt x="328" y="554"/>
                </a:lnTo>
                <a:lnTo>
                  <a:pt x="325" y="547"/>
                </a:lnTo>
                <a:lnTo>
                  <a:pt x="325" y="541"/>
                </a:lnTo>
                <a:lnTo>
                  <a:pt x="325" y="528"/>
                </a:lnTo>
                <a:close/>
                <a:moveTo>
                  <a:pt x="691" y="564"/>
                </a:moveTo>
                <a:lnTo>
                  <a:pt x="686" y="557"/>
                </a:lnTo>
                <a:lnTo>
                  <a:pt x="681" y="552"/>
                </a:lnTo>
                <a:lnTo>
                  <a:pt x="674" y="547"/>
                </a:lnTo>
                <a:lnTo>
                  <a:pt x="668" y="541"/>
                </a:lnTo>
                <a:lnTo>
                  <a:pt x="651" y="531"/>
                </a:lnTo>
                <a:lnTo>
                  <a:pt x="633" y="522"/>
                </a:lnTo>
                <a:lnTo>
                  <a:pt x="591" y="502"/>
                </a:lnTo>
                <a:lnTo>
                  <a:pt x="545" y="484"/>
                </a:lnTo>
                <a:lnTo>
                  <a:pt x="534" y="480"/>
                </a:lnTo>
                <a:lnTo>
                  <a:pt x="524" y="477"/>
                </a:lnTo>
                <a:lnTo>
                  <a:pt x="514" y="473"/>
                </a:lnTo>
                <a:lnTo>
                  <a:pt x="504" y="469"/>
                </a:lnTo>
                <a:lnTo>
                  <a:pt x="495" y="457"/>
                </a:lnTo>
                <a:lnTo>
                  <a:pt x="484" y="448"/>
                </a:lnTo>
                <a:lnTo>
                  <a:pt x="473" y="441"/>
                </a:lnTo>
                <a:lnTo>
                  <a:pt x="462" y="434"/>
                </a:lnTo>
                <a:lnTo>
                  <a:pt x="460" y="433"/>
                </a:lnTo>
                <a:lnTo>
                  <a:pt x="457" y="433"/>
                </a:lnTo>
                <a:lnTo>
                  <a:pt x="456" y="433"/>
                </a:lnTo>
                <a:lnTo>
                  <a:pt x="456" y="378"/>
                </a:lnTo>
                <a:lnTo>
                  <a:pt x="461" y="373"/>
                </a:lnTo>
                <a:lnTo>
                  <a:pt x="466" y="366"/>
                </a:lnTo>
                <a:lnTo>
                  <a:pt x="473" y="358"/>
                </a:lnTo>
                <a:lnTo>
                  <a:pt x="479" y="348"/>
                </a:lnTo>
                <a:lnTo>
                  <a:pt x="484" y="337"/>
                </a:lnTo>
                <a:lnTo>
                  <a:pt x="489" y="322"/>
                </a:lnTo>
                <a:lnTo>
                  <a:pt x="492" y="308"/>
                </a:lnTo>
                <a:lnTo>
                  <a:pt x="495" y="290"/>
                </a:lnTo>
                <a:lnTo>
                  <a:pt x="500" y="285"/>
                </a:lnTo>
                <a:lnTo>
                  <a:pt x="504" y="279"/>
                </a:lnTo>
                <a:lnTo>
                  <a:pt x="507" y="271"/>
                </a:lnTo>
                <a:lnTo>
                  <a:pt x="510" y="262"/>
                </a:lnTo>
                <a:lnTo>
                  <a:pt x="511" y="254"/>
                </a:lnTo>
                <a:lnTo>
                  <a:pt x="513" y="247"/>
                </a:lnTo>
                <a:lnTo>
                  <a:pt x="513" y="238"/>
                </a:lnTo>
                <a:lnTo>
                  <a:pt x="511" y="230"/>
                </a:lnTo>
                <a:lnTo>
                  <a:pt x="510" y="222"/>
                </a:lnTo>
                <a:lnTo>
                  <a:pt x="506" y="215"/>
                </a:lnTo>
                <a:lnTo>
                  <a:pt x="502" y="208"/>
                </a:lnTo>
                <a:lnTo>
                  <a:pt x="497" y="202"/>
                </a:lnTo>
                <a:lnTo>
                  <a:pt x="498" y="198"/>
                </a:lnTo>
                <a:lnTo>
                  <a:pt x="501" y="193"/>
                </a:lnTo>
                <a:lnTo>
                  <a:pt x="510" y="167"/>
                </a:lnTo>
                <a:lnTo>
                  <a:pt x="520" y="135"/>
                </a:lnTo>
                <a:lnTo>
                  <a:pt x="524" y="118"/>
                </a:lnTo>
                <a:lnTo>
                  <a:pt x="527" y="102"/>
                </a:lnTo>
                <a:lnTo>
                  <a:pt x="527" y="85"/>
                </a:lnTo>
                <a:lnTo>
                  <a:pt x="525" y="68"/>
                </a:lnTo>
                <a:lnTo>
                  <a:pt x="523" y="59"/>
                </a:lnTo>
                <a:lnTo>
                  <a:pt x="519" y="51"/>
                </a:lnTo>
                <a:lnTo>
                  <a:pt x="514" y="44"/>
                </a:lnTo>
                <a:lnTo>
                  <a:pt x="509" y="37"/>
                </a:lnTo>
                <a:lnTo>
                  <a:pt x="501" y="31"/>
                </a:lnTo>
                <a:lnTo>
                  <a:pt x="493" y="26"/>
                </a:lnTo>
                <a:lnTo>
                  <a:pt x="484" y="21"/>
                </a:lnTo>
                <a:lnTo>
                  <a:pt x="475" y="16"/>
                </a:lnTo>
                <a:lnTo>
                  <a:pt x="465" y="12"/>
                </a:lnTo>
                <a:lnTo>
                  <a:pt x="453" y="9"/>
                </a:lnTo>
                <a:lnTo>
                  <a:pt x="442" y="7"/>
                </a:lnTo>
                <a:lnTo>
                  <a:pt x="430" y="4"/>
                </a:lnTo>
                <a:lnTo>
                  <a:pt x="407" y="0"/>
                </a:lnTo>
                <a:lnTo>
                  <a:pt x="383" y="0"/>
                </a:lnTo>
                <a:lnTo>
                  <a:pt x="365" y="0"/>
                </a:lnTo>
                <a:lnTo>
                  <a:pt x="347" y="1"/>
                </a:lnTo>
                <a:lnTo>
                  <a:pt x="329" y="5"/>
                </a:lnTo>
                <a:lnTo>
                  <a:pt x="311" y="9"/>
                </a:lnTo>
                <a:lnTo>
                  <a:pt x="295" y="16"/>
                </a:lnTo>
                <a:lnTo>
                  <a:pt x="281" y="23"/>
                </a:lnTo>
                <a:lnTo>
                  <a:pt x="276" y="27"/>
                </a:lnTo>
                <a:lnTo>
                  <a:pt x="271" y="32"/>
                </a:lnTo>
                <a:lnTo>
                  <a:pt x="266" y="37"/>
                </a:lnTo>
                <a:lnTo>
                  <a:pt x="263" y="44"/>
                </a:lnTo>
                <a:lnTo>
                  <a:pt x="251" y="46"/>
                </a:lnTo>
                <a:lnTo>
                  <a:pt x="239" y="50"/>
                </a:lnTo>
                <a:lnTo>
                  <a:pt x="234" y="53"/>
                </a:lnTo>
                <a:lnTo>
                  <a:pt x="230" y="57"/>
                </a:lnTo>
                <a:lnTo>
                  <a:pt x="225" y="60"/>
                </a:lnTo>
                <a:lnTo>
                  <a:pt x="222" y="66"/>
                </a:lnTo>
                <a:lnTo>
                  <a:pt x="217" y="72"/>
                </a:lnTo>
                <a:lnTo>
                  <a:pt x="215" y="78"/>
                </a:lnTo>
                <a:lnTo>
                  <a:pt x="212" y="87"/>
                </a:lnTo>
                <a:lnTo>
                  <a:pt x="211" y="95"/>
                </a:lnTo>
                <a:lnTo>
                  <a:pt x="209" y="112"/>
                </a:lnTo>
                <a:lnTo>
                  <a:pt x="211" y="130"/>
                </a:lnTo>
                <a:lnTo>
                  <a:pt x="213" y="148"/>
                </a:lnTo>
                <a:lnTo>
                  <a:pt x="217" y="164"/>
                </a:lnTo>
                <a:lnTo>
                  <a:pt x="221" y="181"/>
                </a:lnTo>
                <a:lnTo>
                  <a:pt x="225" y="194"/>
                </a:lnTo>
                <a:lnTo>
                  <a:pt x="226" y="198"/>
                </a:lnTo>
                <a:lnTo>
                  <a:pt x="227" y="202"/>
                </a:lnTo>
                <a:lnTo>
                  <a:pt x="222" y="207"/>
                </a:lnTo>
                <a:lnTo>
                  <a:pt x="217" y="215"/>
                </a:lnTo>
                <a:lnTo>
                  <a:pt x="215" y="221"/>
                </a:lnTo>
                <a:lnTo>
                  <a:pt x="212" y="230"/>
                </a:lnTo>
                <a:lnTo>
                  <a:pt x="211" y="238"/>
                </a:lnTo>
                <a:lnTo>
                  <a:pt x="211" y="247"/>
                </a:lnTo>
                <a:lnTo>
                  <a:pt x="212" y="254"/>
                </a:lnTo>
                <a:lnTo>
                  <a:pt x="213" y="263"/>
                </a:lnTo>
                <a:lnTo>
                  <a:pt x="216" y="272"/>
                </a:lnTo>
                <a:lnTo>
                  <a:pt x="220" y="280"/>
                </a:lnTo>
                <a:lnTo>
                  <a:pt x="224" y="285"/>
                </a:lnTo>
                <a:lnTo>
                  <a:pt x="229" y="290"/>
                </a:lnTo>
                <a:lnTo>
                  <a:pt x="230" y="307"/>
                </a:lnTo>
                <a:lnTo>
                  <a:pt x="234" y="322"/>
                </a:lnTo>
                <a:lnTo>
                  <a:pt x="238" y="337"/>
                </a:lnTo>
                <a:lnTo>
                  <a:pt x="243" y="348"/>
                </a:lnTo>
                <a:lnTo>
                  <a:pt x="249" y="358"/>
                </a:lnTo>
                <a:lnTo>
                  <a:pt x="254" y="366"/>
                </a:lnTo>
                <a:lnTo>
                  <a:pt x="260" y="373"/>
                </a:lnTo>
                <a:lnTo>
                  <a:pt x="265" y="378"/>
                </a:lnTo>
                <a:lnTo>
                  <a:pt x="265" y="433"/>
                </a:lnTo>
                <a:lnTo>
                  <a:pt x="262" y="433"/>
                </a:lnTo>
                <a:lnTo>
                  <a:pt x="261" y="434"/>
                </a:lnTo>
                <a:lnTo>
                  <a:pt x="249" y="441"/>
                </a:lnTo>
                <a:lnTo>
                  <a:pt x="239" y="448"/>
                </a:lnTo>
                <a:lnTo>
                  <a:pt x="229" y="457"/>
                </a:lnTo>
                <a:lnTo>
                  <a:pt x="220" y="469"/>
                </a:lnTo>
                <a:lnTo>
                  <a:pt x="209" y="473"/>
                </a:lnTo>
                <a:lnTo>
                  <a:pt x="200" y="477"/>
                </a:lnTo>
                <a:lnTo>
                  <a:pt x="190" y="480"/>
                </a:lnTo>
                <a:lnTo>
                  <a:pt x="181" y="484"/>
                </a:lnTo>
                <a:lnTo>
                  <a:pt x="134" y="502"/>
                </a:lnTo>
                <a:lnTo>
                  <a:pt x="91" y="522"/>
                </a:lnTo>
                <a:lnTo>
                  <a:pt x="73" y="531"/>
                </a:lnTo>
                <a:lnTo>
                  <a:pt x="57" y="541"/>
                </a:lnTo>
                <a:lnTo>
                  <a:pt x="50" y="547"/>
                </a:lnTo>
                <a:lnTo>
                  <a:pt x="44" y="552"/>
                </a:lnTo>
                <a:lnTo>
                  <a:pt x="39" y="557"/>
                </a:lnTo>
                <a:lnTo>
                  <a:pt x="34" y="564"/>
                </a:lnTo>
                <a:lnTo>
                  <a:pt x="28" y="573"/>
                </a:lnTo>
                <a:lnTo>
                  <a:pt x="23" y="583"/>
                </a:lnTo>
                <a:lnTo>
                  <a:pt x="19" y="595"/>
                </a:lnTo>
                <a:lnTo>
                  <a:pt x="16" y="606"/>
                </a:lnTo>
                <a:lnTo>
                  <a:pt x="9" y="629"/>
                </a:lnTo>
                <a:lnTo>
                  <a:pt x="5" y="653"/>
                </a:lnTo>
                <a:lnTo>
                  <a:pt x="1" y="691"/>
                </a:lnTo>
                <a:lnTo>
                  <a:pt x="0" y="709"/>
                </a:lnTo>
                <a:lnTo>
                  <a:pt x="0" y="713"/>
                </a:lnTo>
                <a:lnTo>
                  <a:pt x="4" y="717"/>
                </a:lnTo>
                <a:lnTo>
                  <a:pt x="8" y="719"/>
                </a:lnTo>
                <a:lnTo>
                  <a:pt x="12" y="721"/>
                </a:lnTo>
                <a:lnTo>
                  <a:pt x="709" y="721"/>
                </a:lnTo>
                <a:lnTo>
                  <a:pt x="714" y="719"/>
                </a:lnTo>
                <a:lnTo>
                  <a:pt x="718" y="717"/>
                </a:lnTo>
                <a:lnTo>
                  <a:pt x="721" y="713"/>
                </a:lnTo>
                <a:lnTo>
                  <a:pt x="721" y="709"/>
                </a:lnTo>
                <a:lnTo>
                  <a:pt x="721" y="691"/>
                </a:lnTo>
                <a:lnTo>
                  <a:pt x="718" y="653"/>
                </a:lnTo>
                <a:lnTo>
                  <a:pt x="714" y="629"/>
                </a:lnTo>
                <a:lnTo>
                  <a:pt x="709" y="606"/>
                </a:lnTo>
                <a:lnTo>
                  <a:pt x="705" y="595"/>
                </a:lnTo>
                <a:lnTo>
                  <a:pt x="701" y="583"/>
                </a:lnTo>
                <a:lnTo>
                  <a:pt x="696" y="573"/>
                </a:lnTo>
                <a:lnTo>
                  <a:pt x="691" y="564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Freeform 4344"/>
          <p:cNvSpPr>
            <a:spLocks/>
          </p:cNvSpPr>
          <p:nvPr/>
        </p:nvSpPr>
        <p:spPr bwMode="auto">
          <a:xfrm>
            <a:off x="2662314" y="3415995"/>
            <a:ext cx="280988" cy="280988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rgbClr val="FEA34F"/>
          </a:solidFill>
          <a:ln>
            <a:noFill/>
          </a:ln>
          <a:effectLst>
            <a:outerShdw blurRad="38100" dist="25400" dir="5400000" algn="ctr" rotWithShape="0">
              <a:srgbClr val="000000">
                <a:alpha val="1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FEA34F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19100" y="5458717"/>
            <a:ext cx="11353800" cy="101600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TextBox 183"/>
          <p:cNvSpPr txBox="1"/>
          <p:nvPr/>
        </p:nvSpPr>
        <p:spPr>
          <a:xfrm>
            <a:off x="3442433" y="5712802"/>
            <a:ext cx="758655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/>
              <a:t>Lorem Ipsum 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3257111" y="5619055"/>
            <a:ext cx="0" cy="6953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Group 184"/>
          <p:cNvGrpSpPr/>
          <p:nvPr/>
        </p:nvGrpSpPr>
        <p:grpSpPr>
          <a:xfrm>
            <a:off x="2614143" y="5619055"/>
            <a:ext cx="457647" cy="704074"/>
            <a:chOff x="7666038" y="5922963"/>
            <a:chExt cx="185737" cy="285750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86" name="Freeform 3584"/>
            <p:cNvSpPr>
              <a:spLocks/>
            </p:cNvSpPr>
            <p:nvPr/>
          </p:nvSpPr>
          <p:spPr bwMode="auto">
            <a:xfrm>
              <a:off x="7689850" y="5922963"/>
              <a:ext cx="95250" cy="95250"/>
            </a:xfrm>
            <a:custGeom>
              <a:avLst/>
              <a:gdLst>
                <a:gd name="T0" fmla="*/ 133 w 240"/>
                <a:gd name="T1" fmla="*/ 239 h 240"/>
                <a:gd name="T2" fmla="*/ 156 w 240"/>
                <a:gd name="T3" fmla="*/ 235 h 240"/>
                <a:gd name="T4" fmla="*/ 177 w 240"/>
                <a:gd name="T5" fmla="*/ 226 h 240"/>
                <a:gd name="T6" fmla="*/ 197 w 240"/>
                <a:gd name="T7" fmla="*/ 212 h 240"/>
                <a:gd name="T8" fmla="*/ 213 w 240"/>
                <a:gd name="T9" fmla="*/ 196 h 240"/>
                <a:gd name="T10" fmla="*/ 226 w 240"/>
                <a:gd name="T11" fmla="*/ 177 h 240"/>
                <a:gd name="T12" fmla="*/ 235 w 240"/>
                <a:gd name="T13" fmla="*/ 155 h 240"/>
                <a:gd name="T14" fmla="*/ 240 w 240"/>
                <a:gd name="T15" fmla="*/ 132 h 240"/>
                <a:gd name="T16" fmla="*/ 240 w 240"/>
                <a:gd name="T17" fmla="*/ 108 h 240"/>
                <a:gd name="T18" fmla="*/ 235 w 240"/>
                <a:gd name="T19" fmla="*/ 83 h 240"/>
                <a:gd name="T20" fmla="*/ 226 w 240"/>
                <a:gd name="T21" fmla="*/ 63 h 240"/>
                <a:gd name="T22" fmla="*/ 213 w 240"/>
                <a:gd name="T23" fmla="*/ 43 h 240"/>
                <a:gd name="T24" fmla="*/ 197 w 240"/>
                <a:gd name="T25" fmla="*/ 27 h 240"/>
                <a:gd name="T26" fmla="*/ 177 w 240"/>
                <a:gd name="T27" fmla="*/ 14 h 240"/>
                <a:gd name="T28" fmla="*/ 156 w 240"/>
                <a:gd name="T29" fmla="*/ 5 h 240"/>
                <a:gd name="T30" fmla="*/ 133 w 240"/>
                <a:gd name="T31" fmla="*/ 0 h 240"/>
                <a:gd name="T32" fmla="*/ 108 w 240"/>
                <a:gd name="T33" fmla="*/ 0 h 240"/>
                <a:gd name="T34" fmla="*/ 85 w 240"/>
                <a:gd name="T35" fmla="*/ 5 h 240"/>
                <a:gd name="T36" fmla="*/ 63 w 240"/>
                <a:gd name="T37" fmla="*/ 14 h 240"/>
                <a:gd name="T38" fmla="*/ 44 w 240"/>
                <a:gd name="T39" fmla="*/ 27 h 240"/>
                <a:gd name="T40" fmla="*/ 27 w 240"/>
                <a:gd name="T41" fmla="*/ 43 h 240"/>
                <a:gd name="T42" fmla="*/ 14 w 240"/>
                <a:gd name="T43" fmla="*/ 63 h 240"/>
                <a:gd name="T44" fmla="*/ 5 w 240"/>
                <a:gd name="T45" fmla="*/ 83 h 240"/>
                <a:gd name="T46" fmla="*/ 0 w 240"/>
                <a:gd name="T47" fmla="*/ 108 h 240"/>
                <a:gd name="T48" fmla="*/ 0 w 240"/>
                <a:gd name="T49" fmla="*/ 132 h 240"/>
                <a:gd name="T50" fmla="*/ 5 w 240"/>
                <a:gd name="T51" fmla="*/ 155 h 240"/>
                <a:gd name="T52" fmla="*/ 14 w 240"/>
                <a:gd name="T53" fmla="*/ 177 h 240"/>
                <a:gd name="T54" fmla="*/ 27 w 240"/>
                <a:gd name="T55" fmla="*/ 196 h 240"/>
                <a:gd name="T56" fmla="*/ 44 w 240"/>
                <a:gd name="T57" fmla="*/ 212 h 240"/>
                <a:gd name="T58" fmla="*/ 63 w 240"/>
                <a:gd name="T59" fmla="*/ 226 h 240"/>
                <a:gd name="T60" fmla="*/ 85 w 240"/>
                <a:gd name="T61" fmla="*/ 235 h 240"/>
                <a:gd name="T62" fmla="*/ 108 w 240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240">
                  <a:moveTo>
                    <a:pt x="121" y="240"/>
                  </a:moveTo>
                  <a:lnTo>
                    <a:pt x="133" y="239"/>
                  </a:lnTo>
                  <a:lnTo>
                    <a:pt x="144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7" y="212"/>
                  </a:lnTo>
                  <a:lnTo>
                    <a:pt x="206" y="204"/>
                  </a:lnTo>
                  <a:lnTo>
                    <a:pt x="213" y="196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19"/>
                  </a:lnTo>
                  <a:lnTo>
                    <a:pt x="240" y="108"/>
                  </a:lnTo>
                  <a:lnTo>
                    <a:pt x="238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2"/>
                  </a:lnTo>
                  <a:lnTo>
                    <a:pt x="213" y="43"/>
                  </a:lnTo>
                  <a:lnTo>
                    <a:pt x="206" y="34"/>
                  </a:lnTo>
                  <a:lnTo>
                    <a:pt x="197" y="27"/>
                  </a:lnTo>
                  <a:lnTo>
                    <a:pt x="188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4" y="2"/>
                  </a:lnTo>
                  <a:lnTo>
                    <a:pt x="133" y="0"/>
                  </a:lnTo>
                  <a:lnTo>
                    <a:pt x="121" y="0"/>
                  </a:lnTo>
                  <a:lnTo>
                    <a:pt x="108" y="0"/>
                  </a:lnTo>
                  <a:lnTo>
                    <a:pt x="97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3" y="14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4"/>
                  </a:lnTo>
                  <a:lnTo>
                    <a:pt x="27" y="43"/>
                  </a:lnTo>
                  <a:lnTo>
                    <a:pt x="21" y="52"/>
                  </a:lnTo>
                  <a:lnTo>
                    <a:pt x="14" y="63"/>
                  </a:lnTo>
                  <a:lnTo>
                    <a:pt x="9" y="73"/>
                  </a:lnTo>
                  <a:lnTo>
                    <a:pt x="5" y="83"/>
                  </a:lnTo>
                  <a:lnTo>
                    <a:pt x="3" y="95"/>
                  </a:lnTo>
                  <a:lnTo>
                    <a:pt x="0" y="108"/>
                  </a:lnTo>
                  <a:lnTo>
                    <a:pt x="0" y="119"/>
                  </a:lnTo>
                  <a:lnTo>
                    <a:pt x="0" y="132"/>
                  </a:lnTo>
                  <a:lnTo>
                    <a:pt x="3" y="144"/>
                  </a:lnTo>
                  <a:lnTo>
                    <a:pt x="5" y="155"/>
                  </a:lnTo>
                  <a:lnTo>
                    <a:pt x="9" y="167"/>
                  </a:lnTo>
                  <a:lnTo>
                    <a:pt x="14" y="177"/>
                  </a:lnTo>
                  <a:lnTo>
                    <a:pt x="21" y="187"/>
                  </a:lnTo>
                  <a:lnTo>
                    <a:pt x="27" y="196"/>
                  </a:lnTo>
                  <a:lnTo>
                    <a:pt x="35" y="204"/>
                  </a:lnTo>
                  <a:lnTo>
                    <a:pt x="44" y="212"/>
                  </a:lnTo>
                  <a:lnTo>
                    <a:pt x="53" y="219"/>
                  </a:lnTo>
                  <a:lnTo>
                    <a:pt x="63" y="226"/>
                  </a:lnTo>
                  <a:lnTo>
                    <a:pt x="73" y="230"/>
                  </a:lnTo>
                  <a:lnTo>
                    <a:pt x="85" y="235"/>
                  </a:lnTo>
                  <a:lnTo>
                    <a:pt x="97" y="237"/>
                  </a:lnTo>
                  <a:lnTo>
                    <a:pt x="108" y="239"/>
                  </a:lnTo>
                  <a:lnTo>
                    <a:pt x="121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585"/>
            <p:cNvSpPr>
              <a:spLocks/>
            </p:cNvSpPr>
            <p:nvPr/>
          </p:nvSpPr>
          <p:spPr bwMode="auto">
            <a:xfrm>
              <a:off x="7666038" y="6027738"/>
              <a:ext cx="142875" cy="180975"/>
            </a:xfrm>
            <a:custGeom>
              <a:avLst/>
              <a:gdLst>
                <a:gd name="T0" fmla="*/ 361 w 361"/>
                <a:gd name="T1" fmla="*/ 0 h 456"/>
                <a:gd name="T2" fmla="*/ 200 w 361"/>
                <a:gd name="T3" fmla="*/ 0 h 456"/>
                <a:gd name="T4" fmla="*/ 216 w 361"/>
                <a:gd name="T5" fmla="*/ 202 h 456"/>
                <a:gd name="T6" fmla="*/ 214 w 361"/>
                <a:gd name="T7" fmla="*/ 204 h 456"/>
                <a:gd name="T8" fmla="*/ 213 w 361"/>
                <a:gd name="T9" fmla="*/ 206 h 456"/>
                <a:gd name="T10" fmla="*/ 184 w 361"/>
                <a:gd name="T11" fmla="*/ 237 h 456"/>
                <a:gd name="T12" fmla="*/ 181 w 361"/>
                <a:gd name="T13" fmla="*/ 238 h 456"/>
                <a:gd name="T14" fmla="*/ 178 w 361"/>
                <a:gd name="T15" fmla="*/ 238 h 456"/>
                <a:gd name="T16" fmla="*/ 177 w 361"/>
                <a:gd name="T17" fmla="*/ 238 h 456"/>
                <a:gd name="T18" fmla="*/ 175 w 361"/>
                <a:gd name="T19" fmla="*/ 237 h 456"/>
                <a:gd name="T20" fmla="*/ 144 w 361"/>
                <a:gd name="T21" fmla="*/ 206 h 456"/>
                <a:gd name="T22" fmla="*/ 142 w 361"/>
                <a:gd name="T23" fmla="*/ 204 h 456"/>
                <a:gd name="T24" fmla="*/ 142 w 361"/>
                <a:gd name="T25" fmla="*/ 202 h 456"/>
                <a:gd name="T26" fmla="*/ 158 w 361"/>
                <a:gd name="T27" fmla="*/ 0 h 456"/>
                <a:gd name="T28" fmla="*/ 0 w 361"/>
                <a:gd name="T29" fmla="*/ 0 h 456"/>
                <a:gd name="T30" fmla="*/ 0 w 361"/>
                <a:gd name="T31" fmla="*/ 12 h 456"/>
                <a:gd name="T32" fmla="*/ 1 w 361"/>
                <a:gd name="T33" fmla="*/ 36 h 456"/>
                <a:gd name="T34" fmla="*/ 2 w 361"/>
                <a:gd name="T35" fmla="*/ 59 h 456"/>
                <a:gd name="T36" fmla="*/ 6 w 361"/>
                <a:gd name="T37" fmla="*/ 81 h 456"/>
                <a:gd name="T38" fmla="*/ 10 w 361"/>
                <a:gd name="T39" fmla="*/ 102 h 456"/>
                <a:gd name="T40" fmla="*/ 15 w 361"/>
                <a:gd name="T41" fmla="*/ 121 h 456"/>
                <a:gd name="T42" fmla="*/ 20 w 361"/>
                <a:gd name="T43" fmla="*/ 139 h 456"/>
                <a:gd name="T44" fmla="*/ 28 w 361"/>
                <a:gd name="T45" fmla="*/ 157 h 456"/>
                <a:gd name="T46" fmla="*/ 35 w 361"/>
                <a:gd name="T47" fmla="*/ 172 h 456"/>
                <a:gd name="T48" fmla="*/ 44 w 361"/>
                <a:gd name="T49" fmla="*/ 188 h 456"/>
                <a:gd name="T50" fmla="*/ 51 w 361"/>
                <a:gd name="T51" fmla="*/ 201 h 456"/>
                <a:gd name="T52" fmla="*/ 60 w 361"/>
                <a:gd name="T53" fmla="*/ 213 h 456"/>
                <a:gd name="T54" fmla="*/ 69 w 361"/>
                <a:gd name="T55" fmla="*/ 225 h 456"/>
                <a:gd name="T56" fmla="*/ 80 w 361"/>
                <a:gd name="T57" fmla="*/ 235 h 456"/>
                <a:gd name="T58" fmla="*/ 89 w 361"/>
                <a:gd name="T59" fmla="*/ 244 h 456"/>
                <a:gd name="T60" fmla="*/ 99 w 361"/>
                <a:gd name="T61" fmla="*/ 252 h 456"/>
                <a:gd name="T62" fmla="*/ 108 w 361"/>
                <a:gd name="T63" fmla="*/ 258 h 456"/>
                <a:gd name="T64" fmla="*/ 108 w 361"/>
                <a:gd name="T65" fmla="*/ 456 h 456"/>
                <a:gd name="T66" fmla="*/ 253 w 361"/>
                <a:gd name="T67" fmla="*/ 456 h 456"/>
                <a:gd name="T68" fmla="*/ 253 w 361"/>
                <a:gd name="T69" fmla="*/ 258 h 456"/>
                <a:gd name="T70" fmla="*/ 262 w 361"/>
                <a:gd name="T71" fmla="*/ 252 h 456"/>
                <a:gd name="T72" fmla="*/ 272 w 361"/>
                <a:gd name="T73" fmla="*/ 244 h 456"/>
                <a:gd name="T74" fmla="*/ 281 w 361"/>
                <a:gd name="T75" fmla="*/ 235 h 456"/>
                <a:gd name="T76" fmla="*/ 291 w 361"/>
                <a:gd name="T77" fmla="*/ 225 h 456"/>
                <a:gd name="T78" fmla="*/ 300 w 361"/>
                <a:gd name="T79" fmla="*/ 213 h 456"/>
                <a:gd name="T80" fmla="*/ 309 w 361"/>
                <a:gd name="T81" fmla="*/ 201 h 456"/>
                <a:gd name="T82" fmla="*/ 318 w 361"/>
                <a:gd name="T83" fmla="*/ 188 h 456"/>
                <a:gd name="T84" fmla="*/ 326 w 361"/>
                <a:gd name="T85" fmla="*/ 172 h 456"/>
                <a:gd name="T86" fmla="*/ 334 w 361"/>
                <a:gd name="T87" fmla="*/ 157 h 456"/>
                <a:gd name="T88" fmla="*/ 340 w 361"/>
                <a:gd name="T89" fmla="*/ 139 h 456"/>
                <a:gd name="T90" fmla="*/ 345 w 361"/>
                <a:gd name="T91" fmla="*/ 121 h 456"/>
                <a:gd name="T92" fmla="*/ 351 w 361"/>
                <a:gd name="T93" fmla="*/ 102 h 456"/>
                <a:gd name="T94" fmla="*/ 356 w 361"/>
                <a:gd name="T95" fmla="*/ 81 h 456"/>
                <a:gd name="T96" fmla="*/ 358 w 361"/>
                <a:gd name="T97" fmla="*/ 59 h 456"/>
                <a:gd name="T98" fmla="*/ 359 w 361"/>
                <a:gd name="T99" fmla="*/ 36 h 456"/>
                <a:gd name="T100" fmla="*/ 361 w 361"/>
                <a:gd name="T101" fmla="*/ 12 h 456"/>
                <a:gd name="T102" fmla="*/ 361 w 361"/>
                <a:gd name="T103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1" h="456">
                  <a:moveTo>
                    <a:pt x="361" y="0"/>
                  </a:moveTo>
                  <a:lnTo>
                    <a:pt x="200" y="0"/>
                  </a:lnTo>
                  <a:lnTo>
                    <a:pt x="216" y="202"/>
                  </a:lnTo>
                  <a:lnTo>
                    <a:pt x="214" y="204"/>
                  </a:lnTo>
                  <a:lnTo>
                    <a:pt x="213" y="206"/>
                  </a:lnTo>
                  <a:lnTo>
                    <a:pt x="184" y="237"/>
                  </a:lnTo>
                  <a:lnTo>
                    <a:pt x="181" y="238"/>
                  </a:lnTo>
                  <a:lnTo>
                    <a:pt x="178" y="238"/>
                  </a:lnTo>
                  <a:lnTo>
                    <a:pt x="177" y="238"/>
                  </a:lnTo>
                  <a:lnTo>
                    <a:pt x="175" y="237"/>
                  </a:lnTo>
                  <a:lnTo>
                    <a:pt x="144" y="206"/>
                  </a:lnTo>
                  <a:lnTo>
                    <a:pt x="142" y="204"/>
                  </a:lnTo>
                  <a:lnTo>
                    <a:pt x="142" y="202"/>
                  </a:lnTo>
                  <a:lnTo>
                    <a:pt x="158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" y="36"/>
                  </a:lnTo>
                  <a:lnTo>
                    <a:pt x="2" y="59"/>
                  </a:lnTo>
                  <a:lnTo>
                    <a:pt x="6" y="81"/>
                  </a:lnTo>
                  <a:lnTo>
                    <a:pt x="10" y="102"/>
                  </a:lnTo>
                  <a:lnTo>
                    <a:pt x="15" y="121"/>
                  </a:lnTo>
                  <a:lnTo>
                    <a:pt x="20" y="139"/>
                  </a:lnTo>
                  <a:lnTo>
                    <a:pt x="28" y="157"/>
                  </a:lnTo>
                  <a:lnTo>
                    <a:pt x="35" y="172"/>
                  </a:lnTo>
                  <a:lnTo>
                    <a:pt x="44" y="188"/>
                  </a:lnTo>
                  <a:lnTo>
                    <a:pt x="51" y="201"/>
                  </a:lnTo>
                  <a:lnTo>
                    <a:pt x="60" y="213"/>
                  </a:lnTo>
                  <a:lnTo>
                    <a:pt x="69" y="225"/>
                  </a:lnTo>
                  <a:lnTo>
                    <a:pt x="80" y="235"/>
                  </a:lnTo>
                  <a:lnTo>
                    <a:pt x="89" y="244"/>
                  </a:lnTo>
                  <a:lnTo>
                    <a:pt x="99" y="252"/>
                  </a:lnTo>
                  <a:lnTo>
                    <a:pt x="108" y="258"/>
                  </a:lnTo>
                  <a:lnTo>
                    <a:pt x="108" y="456"/>
                  </a:lnTo>
                  <a:lnTo>
                    <a:pt x="253" y="456"/>
                  </a:lnTo>
                  <a:lnTo>
                    <a:pt x="253" y="258"/>
                  </a:lnTo>
                  <a:lnTo>
                    <a:pt x="262" y="252"/>
                  </a:lnTo>
                  <a:lnTo>
                    <a:pt x="272" y="244"/>
                  </a:lnTo>
                  <a:lnTo>
                    <a:pt x="281" y="235"/>
                  </a:lnTo>
                  <a:lnTo>
                    <a:pt x="291" y="225"/>
                  </a:lnTo>
                  <a:lnTo>
                    <a:pt x="300" y="213"/>
                  </a:lnTo>
                  <a:lnTo>
                    <a:pt x="309" y="201"/>
                  </a:lnTo>
                  <a:lnTo>
                    <a:pt x="318" y="188"/>
                  </a:lnTo>
                  <a:lnTo>
                    <a:pt x="326" y="172"/>
                  </a:lnTo>
                  <a:lnTo>
                    <a:pt x="334" y="157"/>
                  </a:lnTo>
                  <a:lnTo>
                    <a:pt x="340" y="139"/>
                  </a:lnTo>
                  <a:lnTo>
                    <a:pt x="345" y="121"/>
                  </a:lnTo>
                  <a:lnTo>
                    <a:pt x="351" y="102"/>
                  </a:lnTo>
                  <a:lnTo>
                    <a:pt x="356" y="81"/>
                  </a:lnTo>
                  <a:lnTo>
                    <a:pt x="358" y="59"/>
                  </a:lnTo>
                  <a:lnTo>
                    <a:pt x="359" y="36"/>
                  </a:lnTo>
                  <a:lnTo>
                    <a:pt x="361" y="12"/>
                  </a:lnTo>
                  <a:lnTo>
                    <a:pt x="3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586"/>
            <p:cNvSpPr>
              <a:spLocks/>
            </p:cNvSpPr>
            <p:nvPr/>
          </p:nvSpPr>
          <p:spPr bwMode="auto">
            <a:xfrm>
              <a:off x="7804150" y="6103938"/>
              <a:ext cx="47625" cy="104775"/>
            </a:xfrm>
            <a:custGeom>
              <a:avLst/>
              <a:gdLst>
                <a:gd name="T0" fmla="*/ 72 w 120"/>
                <a:gd name="T1" fmla="*/ 24 h 264"/>
                <a:gd name="T2" fmla="*/ 72 w 120"/>
                <a:gd name="T3" fmla="*/ 0 h 264"/>
                <a:gd name="T4" fmla="*/ 48 w 120"/>
                <a:gd name="T5" fmla="*/ 0 h 264"/>
                <a:gd name="T6" fmla="*/ 48 w 120"/>
                <a:gd name="T7" fmla="*/ 24 h 264"/>
                <a:gd name="T8" fmla="*/ 0 w 120"/>
                <a:gd name="T9" fmla="*/ 24 h 264"/>
                <a:gd name="T10" fmla="*/ 0 w 120"/>
                <a:gd name="T11" fmla="*/ 264 h 264"/>
                <a:gd name="T12" fmla="*/ 120 w 120"/>
                <a:gd name="T13" fmla="*/ 264 h 264"/>
                <a:gd name="T14" fmla="*/ 120 w 120"/>
                <a:gd name="T15" fmla="*/ 24 h 264"/>
                <a:gd name="T16" fmla="*/ 72 w 120"/>
                <a:gd name="T17" fmla="*/ 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264">
                  <a:moveTo>
                    <a:pt x="72" y="24"/>
                  </a:moveTo>
                  <a:lnTo>
                    <a:pt x="72" y="0"/>
                  </a:lnTo>
                  <a:lnTo>
                    <a:pt x="48" y="0"/>
                  </a:lnTo>
                  <a:lnTo>
                    <a:pt x="48" y="24"/>
                  </a:lnTo>
                  <a:lnTo>
                    <a:pt x="0" y="24"/>
                  </a:lnTo>
                  <a:lnTo>
                    <a:pt x="0" y="264"/>
                  </a:lnTo>
                  <a:lnTo>
                    <a:pt x="120" y="264"/>
                  </a:lnTo>
                  <a:lnTo>
                    <a:pt x="120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9" name="TextBox 188"/>
          <p:cNvSpPr txBox="1"/>
          <p:nvPr/>
        </p:nvSpPr>
        <p:spPr>
          <a:xfrm>
            <a:off x="1163008" y="5535830"/>
            <a:ext cx="1431673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 smtClean="0"/>
              <a:t>LOREM IPSUM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96124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ingle Corner Rectangle 2"/>
          <p:cNvSpPr/>
          <p:nvPr/>
        </p:nvSpPr>
        <p:spPr>
          <a:xfrm flipH="1">
            <a:off x="0" y="0"/>
            <a:ext cx="12192000" cy="6858000"/>
          </a:xfrm>
          <a:prstGeom prst="snip1Rect">
            <a:avLst>
              <a:gd name="adj" fmla="val 45556"/>
            </a:avLst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2337143" y="0"/>
            <a:ext cx="667657" cy="667657"/>
          </a:xfrm>
          <a:prstGeom prst="rect">
            <a:avLst/>
          </a:prstGeom>
          <a:solidFill>
            <a:srgbClr val="0C4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2337143" y="798285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2337143" y="1596570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-4611408" y="1132113"/>
            <a:ext cx="10467560" cy="4115512"/>
            <a:chOff x="5144303" y="3523114"/>
            <a:chExt cx="10467560" cy="4115512"/>
          </a:xfrm>
        </p:grpSpPr>
        <p:sp>
          <p:nvSpPr>
            <p:cNvPr id="2" name="Rectangle 1"/>
            <p:cNvSpPr/>
            <p:nvPr/>
          </p:nvSpPr>
          <p:spPr>
            <a:xfrm rot="18900000">
              <a:off x="5144303" y="7149899"/>
              <a:ext cx="7678494" cy="48872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 rot="18900000">
              <a:off x="7933369" y="3523114"/>
              <a:ext cx="7678494" cy="48872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ectangle 12"/>
          <p:cNvSpPr/>
          <p:nvPr/>
        </p:nvSpPr>
        <p:spPr>
          <a:xfrm>
            <a:off x="13156292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3156292" y="798285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3156292" y="1596570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5078115" y="4871833"/>
            <a:ext cx="2035771" cy="110557"/>
            <a:chOff x="-170626" y="0"/>
            <a:chExt cx="13534857" cy="16691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" name="Parallelogram 1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Parallelogram 2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994168" y="2173165"/>
            <a:ext cx="6203664" cy="2511671"/>
            <a:chOff x="5743861" y="2923128"/>
            <a:chExt cx="6203664" cy="2511671"/>
          </a:xfrm>
        </p:grpSpPr>
        <p:sp>
          <p:nvSpPr>
            <p:cNvPr id="22" name="Title 1"/>
            <p:cNvSpPr txBox="1">
              <a:spLocks/>
            </p:cNvSpPr>
            <p:nvPr/>
          </p:nvSpPr>
          <p:spPr>
            <a:xfrm>
              <a:off x="5743861" y="3541426"/>
              <a:ext cx="6203664" cy="88639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3200" dirty="0" smtClean="0">
                  <a:solidFill>
                    <a:schemeClr val="bg1"/>
                  </a:solidFill>
                </a:rPr>
                <a:t>READY TO BOOST THE IMPACT OF YOUR PRESENTATIONS?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23" name="Title 1"/>
            <p:cNvSpPr txBox="1">
              <a:spLocks/>
            </p:cNvSpPr>
            <p:nvPr/>
          </p:nvSpPr>
          <p:spPr>
            <a:xfrm>
              <a:off x="6366233" y="4880801"/>
              <a:ext cx="4958921" cy="55399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bg1"/>
                  </a:solidFill>
                  <a:latin typeface="+mn-lt"/>
                </a:rPr>
                <a:t>Head over to 24Slides.com and find out more about our presentation design services.</a:t>
              </a:r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6869256" y="4654312"/>
              <a:ext cx="395287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144" t="44577" r="27195" b="43479"/>
            <a:stretch/>
          </p:blipFill>
          <p:spPr>
            <a:xfrm>
              <a:off x="8023511" y="2923128"/>
              <a:ext cx="1644364" cy="5050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562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1"/>
          <p:cNvSpPr txBox="1">
            <a:spLocks/>
          </p:cNvSpPr>
          <p:nvPr/>
        </p:nvSpPr>
        <p:spPr>
          <a:xfrm>
            <a:off x="1163436" y="3467124"/>
            <a:ext cx="123736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dirty="0" smtClean="0">
                <a:solidFill>
                  <a:srgbClr val="46B688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02</a:t>
            </a:r>
            <a:endParaRPr lang="en-US" sz="4000" dirty="0">
              <a:solidFill>
                <a:srgbClr val="46B688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Title 1"/>
          <p:cNvSpPr txBox="1">
            <a:spLocks/>
          </p:cNvSpPr>
          <p:nvPr/>
        </p:nvSpPr>
        <p:spPr>
          <a:xfrm>
            <a:off x="1163436" y="4558607"/>
            <a:ext cx="123736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dirty="0" smtClean="0">
                <a:solidFill>
                  <a:srgbClr val="FEA34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03</a:t>
            </a:r>
            <a:endParaRPr lang="en-US" sz="4000" dirty="0">
              <a:solidFill>
                <a:srgbClr val="FEA34F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Title 1"/>
          <p:cNvSpPr txBox="1">
            <a:spLocks/>
          </p:cNvSpPr>
          <p:nvPr/>
        </p:nvSpPr>
        <p:spPr>
          <a:xfrm>
            <a:off x="1163436" y="2384272"/>
            <a:ext cx="123736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dirty="0" smtClean="0">
                <a:solidFill>
                  <a:srgbClr val="016AA3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01</a:t>
            </a:r>
            <a:endParaRPr lang="en-US" sz="4000" dirty="0">
              <a:solidFill>
                <a:srgbClr val="016AA3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096000" y="3646713"/>
            <a:ext cx="3919073" cy="2614128"/>
            <a:chOff x="6096000" y="3646713"/>
            <a:chExt cx="3919073" cy="2614128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6" name="Freeform 5"/>
            <p:cNvSpPr>
              <a:spLocks/>
            </p:cNvSpPr>
            <p:nvPr/>
          </p:nvSpPr>
          <p:spPr bwMode="auto">
            <a:xfrm>
              <a:off x="6096000" y="3674296"/>
              <a:ext cx="3919073" cy="2586545"/>
            </a:xfrm>
            <a:custGeom>
              <a:avLst/>
              <a:gdLst>
                <a:gd name="T0" fmla="*/ 37 w 1723"/>
                <a:gd name="T1" fmla="*/ 721 h 1138"/>
                <a:gd name="T2" fmla="*/ 451 w 1723"/>
                <a:gd name="T3" fmla="*/ 0 h 1138"/>
                <a:gd name="T4" fmla="*/ 451 w 1723"/>
                <a:gd name="T5" fmla="*/ 0 h 1138"/>
                <a:gd name="T6" fmla="*/ 634 w 1723"/>
                <a:gd name="T7" fmla="*/ 605 h 1138"/>
                <a:gd name="T8" fmla="*/ 1330 w 1723"/>
                <a:gd name="T9" fmla="*/ 579 h 1138"/>
                <a:gd name="T10" fmla="*/ 1446 w 1723"/>
                <a:gd name="T11" fmla="*/ 325 h 1138"/>
                <a:gd name="T12" fmla="*/ 1277 w 1723"/>
                <a:gd name="T13" fmla="*/ 32 h 1138"/>
                <a:gd name="T14" fmla="*/ 1071 w 1723"/>
                <a:gd name="T15" fmla="*/ 1138 h 1138"/>
                <a:gd name="T16" fmla="*/ 1071 w 1723"/>
                <a:gd name="T17" fmla="*/ 1138 h 1138"/>
                <a:gd name="T18" fmla="*/ 279 w 1723"/>
                <a:gd name="T19" fmla="*/ 1138 h 1138"/>
                <a:gd name="T20" fmla="*/ 0 w 1723"/>
                <a:gd name="T21" fmla="*/ 860 h 1138"/>
                <a:gd name="T22" fmla="*/ 37 w 1723"/>
                <a:gd name="T23" fmla="*/ 721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23" h="1138">
                  <a:moveTo>
                    <a:pt x="37" y="721"/>
                  </a:move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342" y="265"/>
                    <a:pt x="450" y="484"/>
                    <a:pt x="634" y="605"/>
                  </a:cubicBezTo>
                  <a:cubicBezTo>
                    <a:pt x="828" y="733"/>
                    <a:pt x="1106" y="750"/>
                    <a:pt x="1330" y="579"/>
                  </a:cubicBezTo>
                  <a:cubicBezTo>
                    <a:pt x="1401" y="517"/>
                    <a:pt x="1446" y="426"/>
                    <a:pt x="1446" y="325"/>
                  </a:cubicBezTo>
                  <a:cubicBezTo>
                    <a:pt x="1446" y="196"/>
                    <a:pt x="1378" y="96"/>
                    <a:pt x="1277" y="32"/>
                  </a:cubicBezTo>
                  <a:cubicBezTo>
                    <a:pt x="1723" y="311"/>
                    <a:pt x="1648" y="1131"/>
                    <a:pt x="1071" y="1138"/>
                  </a:cubicBezTo>
                  <a:cubicBezTo>
                    <a:pt x="1071" y="1138"/>
                    <a:pt x="1071" y="1138"/>
                    <a:pt x="1071" y="1138"/>
                  </a:cubicBezTo>
                  <a:cubicBezTo>
                    <a:pt x="279" y="1138"/>
                    <a:pt x="279" y="1138"/>
                    <a:pt x="279" y="1138"/>
                  </a:cubicBezTo>
                  <a:cubicBezTo>
                    <a:pt x="125" y="1138"/>
                    <a:pt x="0" y="1014"/>
                    <a:pt x="0" y="860"/>
                  </a:cubicBezTo>
                  <a:cubicBezTo>
                    <a:pt x="0" y="809"/>
                    <a:pt x="13" y="762"/>
                    <a:pt x="37" y="721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9"/>
            <p:cNvSpPr>
              <a:spLocks/>
            </p:cNvSpPr>
            <p:nvPr/>
          </p:nvSpPr>
          <p:spPr bwMode="auto">
            <a:xfrm>
              <a:off x="6651927" y="3646713"/>
              <a:ext cx="2134589" cy="1979694"/>
            </a:xfrm>
            <a:custGeom>
              <a:avLst/>
              <a:gdLst>
                <a:gd name="T0" fmla="*/ 939 w 939"/>
                <a:gd name="T1" fmla="*/ 677 h 871"/>
                <a:gd name="T2" fmla="*/ 214 w 939"/>
                <a:gd name="T3" fmla="*/ 0 h 871"/>
                <a:gd name="T4" fmla="*/ 939 w 939"/>
                <a:gd name="T5" fmla="*/ 677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9" h="871">
                  <a:moveTo>
                    <a:pt x="939" y="677"/>
                  </a:moveTo>
                  <a:cubicBezTo>
                    <a:pt x="419" y="871"/>
                    <a:pt x="0" y="457"/>
                    <a:pt x="214" y="0"/>
                  </a:cubicBezTo>
                  <a:cubicBezTo>
                    <a:pt x="37" y="499"/>
                    <a:pt x="468" y="810"/>
                    <a:pt x="939" y="677"/>
                  </a:cubicBezTo>
                  <a:close/>
                </a:path>
              </a:pathLst>
            </a:custGeom>
            <a:solidFill>
              <a:srgbClr val="FEBF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846534" y="2522128"/>
            <a:ext cx="3288880" cy="3738713"/>
            <a:chOff x="7846534" y="2522128"/>
            <a:chExt cx="3288880" cy="3738713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8" name="Freeform 7"/>
            <p:cNvSpPr>
              <a:spLocks/>
            </p:cNvSpPr>
            <p:nvPr/>
          </p:nvSpPr>
          <p:spPr bwMode="auto">
            <a:xfrm>
              <a:off x="7846534" y="2522128"/>
              <a:ext cx="3288880" cy="3738713"/>
            </a:xfrm>
            <a:custGeom>
              <a:avLst/>
              <a:gdLst>
                <a:gd name="T0" fmla="*/ 992 w 1446"/>
                <a:gd name="T1" fmla="*/ 501 h 1645"/>
                <a:gd name="T2" fmla="*/ 1409 w 1446"/>
                <a:gd name="T3" fmla="*/ 1228 h 1645"/>
                <a:gd name="T4" fmla="*/ 1446 w 1446"/>
                <a:gd name="T5" fmla="*/ 1367 h 1645"/>
                <a:gd name="T6" fmla="*/ 1167 w 1446"/>
                <a:gd name="T7" fmla="*/ 1645 h 1645"/>
                <a:gd name="T8" fmla="*/ 294 w 1446"/>
                <a:gd name="T9" fmla="*/ 1645 h 1645"/>
                <a:gd name="T10" fmla="*/ 507 w 1446"/>
                <a:gd name="T11" fmla="*/ 539 h 1645"/>
                <a:gd name="T12" fmla="*/ 338 w 1446"/>
                <a:gd name="T13" fmla="*/ 494 h 1645"/>
                <a:gd name="T14" fmla="*/ 0 w 1446"/>
                <a:gd name="T15" fmla="*/ 832 h 1645"/>
                <a:gd name="T16" fmla="*/ 992 w 1446"/>
                <a:gd name="T17" fmla="*/ 501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6" h="1645">
                  <a:moveTo>
                    <a:pt x="992" y="501"/>
                  </a:moveTo>
                  <a:cubicBezTo>
                    <a:pt x="1409" y="1228"/>
                    <a:pt x="1409" y="1228"/>
                    <a:pt x="1409" y="1228"/>
                  </a:cubicBezTo>
                  <a:cubicBezTo>
                    <a:pt x="1432" y="1269"/>
                    <a:pt x="1446" y="1316"/>
                    <a:pt x="1446" y="1367"/>
                  </a:cubicBezTo>
                  <a:cubicBezTo>
                    <a:pt x="1446" y="1521"/>
                    <a:pt x="1321" y="1645"/>
                    <a:pt x="1167" y="1645"/>
                  </a:cubicBezTo>
                  <a:cubicBezTo>
                    <a:pt x="294" y="1645"/>
                    <a:pt x="294" y="1645"/>
                    <a:pt x="294" y="1645"/>
                  </a:cubicBezTo>
                  <a:cubicBezTo>
                    <a:pt x="877" y="1645"/>
                    <a:pt x="955" y="819"/>
                    <a:pt x="507" y="539"/>
                  </a:cubicBezTo>
                  <a:cubicBezTo>
                    <a:pt x="457" y="510"/>
                    <a:pt x="399" y="494"/>
                    <a:pt x="338" y="494"/>
                  </a:cubicBezTo>
                  <a:cubicBezTo>
                    <a:pt x="151" y="494"/>
                    <a:pt x="0" y="645"/>
                    <a:pt x="0" y="832"/>
                  </a:cubicBezTo>
                  <a:cubicBezTo>
                    <a:pt x="0" y="315"/>
                    <a:pt x="699" y="0"/>
                    <a:pt x="992" y="501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0"/>
            <p:cNvSpPr>
              <a:spLocks/>
            </p:cNvSpPr>
            <p:nvPr/>
          </p:nvSpPr>
          <p:spPr bwMode="auto">
            <a:xfrm>
              <a:off x="8514918" y="3746439"/>
              <a:ext cx="1587150" cy="2514402"/>
            </a:xfrm>
            <a:custGeom>
              <a:avLst/>
              <a:gdLst>
                <a:gd name="T0" fmla="*/ 0 w 698"/>
                <a:gd name="T1" fmla="*/ 1106 h 1106"/>
                <a:gd name="T2" fmla="*/ 213 w 698"/>
                <a:gd name="T3" fmla="*/ 0 h 1106"/>
                <a:gd name="T4" fmla="*/ 0 w 698"/>
                <a:gd name="T5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98" h="1106">
                  <a:moveTo>
                    <a:pt x="0" y="1106"/>
                  </a:moveTo>
                  <a:cubicBezTo>
                    <a:pt x="583" y="1106"/>
                    <a:pt x="661" y="280"/>
                    <a:pt x="213" y="0"/>
                  </a:cubicBezTo>
                  <a:cubicBezTo>
                    <a:pt x="698" y="280"/>
                    <a:pt x="610" y="1106"/>
                    <a:pt x="0" y="1106"/>
                  </a:cubicBezTo>
                  <a:close/>
                </a:path>
              </a:pathLst>
            </a:custGeom>
            <a:solidFill>
              <a:srgbClr val="7ACCA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CYCLE DIAGRAM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6607369" y="1711579"/>
            <a:ext cx="3494701" cy="4010310"/>
            <a:chOff x="6607369" y="1711579"/>
            <a:chExt cx="3494701" cy="401031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7" name="Freeform 6"/>
            <p:cNvSpPr>
              <a:spLocks/>
            </p:cNvSpPr>
            <p:nvPr/>
          </p:nvSpPr>
          <p:spPr bwMode="auto">
            <a:xfrm>
              <a:off x="6607369" y="1711579"/>
              <a:ext cx="3494701" cy="4010310"/>
            </a:xfrm>
            <a:custGeom>
              <a:avLst/>
              <a:gdLst>
                <a:gd name="T0" fmla="*/ 226 w 1537"/>
                <a:gd name="T1" fmla="*/ 862 h 1764"/>
                <a:gd name="T2" fmla="*/ 640 w 1537"/>
                <a:gd name="T3" fmla="*/ 141 h 1764"/>
                <a:gd name="T4" fmla="*/ 883 w 1537"/>
                <a:gd name="T5" fmla="*/ 0 h 1764"/>
                <a:gd name="T6" fmla="*/ 1123 w 1537"/>
                <a:gd name="T7" fmla="*/ 136 h 1764"/>
                <a:gd name="T8" fmla="*/ 1537 w 1537"/>
                <a:gd name="T9" fmla="*/ 857 h 1764"/>
                <a:gd name="T10" fmla="*/ 1537 w 1537"/>
                <a:gd name="T11" fmla="*/ 857 h 1764"/>
                <a:gd name="T12" fmla="*/ 545 w 1537"/>
                <a:gd name="T13" fmla="*/ 1188 h 1764"/>
                <a:gd name="T14" fmla="*/ 883 w 1537"/>
                <a:gd name="T15" fmla="*/ 1525 h 1764"/>
                <a:gd name="T16" fmla="*/ 1094 w 1537"/>
                <a:gd name="T17" fmla="*/ 1451 h 1764"/>
                <a:gd name="T18" fmla="*/ 226 w 1537"/>
                <a:gd name="T19" fmla="*/ 863 h 1764"/>
                <a:gd name="T20" fmla="*/ 226 w 1537"/>
                <a:gd name="T21" fmla="*/ 86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7" h="1764">
                  <a:moveTo>
                    <a:pt x="226" y="862"/>
                  </a:moveTo>
                  <a:cubicBezTo>
                    <a:pt x="640" y="141"/>
                    <a:pt x="640" y="141"/>
                    <a:pt x="640" y="141"/>
                  </a:cubicBezTo>
                  <a:cubicBezTo>
                    <a:pt x="688" y="57"/>
                    <a:pt x="779" y="0"/>
                    <a:pt x="883" y="0"/>
                  </a:cubicBezTo>
                  <a:cubicBezTo>
                    <a:pt x="985" y="0"/>
                    <a:pt x="1074" y="55"/>
                    <a:pt x="1123" y="136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244" y="356"/>
                    <a:pt x="545" y="671"/>
                    <a:pt x="545" y="1188"/>
                  </a:cubicBezTo>
                  <a:cubicBezTo>
                    <a:pt x="545" y="1374"/>
                    <a:pt x="696" y="1525"/>
                    <a:pt x="883" y="1525"/>
                  </a:cubicBezTo>
                  <a:cubicBezTo>
                    <a:pt x="963" y="1525"/>
                    <a:pt x="1036" y="1498"/>
                    <a:pt x="1094" y="1451"/>
                  </a:cubicBezTo>
                  <a:cubicBezTo>
                    <a:pt x="681" y="1764"/>
                    <a:pt x="0" y="1400"/>
                    <a:pt x="226" y="863"/>
                  </a:cubicBezTo>
                  <a:lnTo>
                    <a:pt x="226" y="862"/>
                  </a:ln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"/>
            <p:cNvSpPr>
              <a:spLocks/>
            </p:cNvSpPr>
            <p:nvPr/>
          </p:nvSpPr>
          <p:spPr bwMode="auto">
            <a:xfrm>
              <a:off x="7810461" y="2522128"/>
              <a:ext cx="2291607" cy="1890576"/>
            </a:xfrm>
            <a:custGeom>
              <a:avLst/>
              <a:gdLst>
                <a:gd name="T0" fmla="*/ 16 w 1008"/>
                <a:gd name="T1" fmla="*/ 832 h 832"/>
                <a:gd name="T2" fmla="*/ 1008 w 1008"/>
                <a:gd name="T3" fmla="*/ 501 h 832"/>
                <a:gd name="T4" fmla="*/ 16 w 1008"/>
                <a:gd name="T5" fmla="*/ 83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8" h="832">
                  <a:moveTo>
                    <a:pt x="16" y="832"/>
                  </a:moveTo>
                  <a:cubicBezTo>
                    <a:pt x="16" y="315"/>
                    <a:pt x="715" y="0"/>
                    <a:pt x="1008" y="501"/>
                  </a:cubicBezTo>
                  <a:cubicBezTo>
                    <a:pt x="715" y="1"/>
                    <a:pt x="0" y="253"/>
                    <a:pt x="16" y="832"/>
                  </a:cubicBezTo>
                  <a:close/>
                </a:path>
              </a:pathLst>
            </a:custGeom>
            <a:solidFill>
              <a:srgbClr val="0185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7332600" y="4257340"/>
            <a:ext cx="287338" cy="268288"/>
            <a:chOff x="4329113" y="1382713"/>
            <a:chExt cx="287338" cy="268288"/>
          </a:xfrm>
          <a:solidFill>
            <a:schemeClr val="bg1"/>
          </a:solidFill>
        </p:grpSpPr>
        <p:sp>
          <p:nvSpPr>
            <p:cNvPr id="80" name="Freeform 1471"/>
            <p:cNvSpPr>
              <a:spLocks/>
            </p:cNvSpPr>
            <p:nvPr/>
          </p:nvSpPr>
          <p:spPr bwMode="auto">
            <a:xfrm>
              <a:off x="4357688" y="1487488"/>
              <a:ext cx="19050" cy="19050"/>
            </a:xfrm>
            <a:custGeom>
              <a:avLst/>
              <a:gdLst>
                <a:gd name="T0" fmla="*/ 29 w 59"/>
                <a:gd name="T1" fmla="*/ 0 h 61"/>
                <a:gd name="T2" fmla="*/ 24 w 59"/>
                <a:gd name="T3" fmla="*/ 1 h 61"/>
                <a:gd name="T4" fmla="*/ 17 w 59"/>
                <a:gd name="T5" fmla="*/ 3 h 61"/>
                <a:gd name="T6" fmla="*/ 13 w 59"/>
                <a:gd name="T7" fmla="*/ 6 h 61"/>
                <a:gd name="T8" fmla="*/ 8 w 59"/>
                <a:gd name="T9" fmla="*/ 9 h 61"/>
                <a:gd name="T10" fmla="*/ 4 w 59"/>
                <a:gd name="T11" fmla="*/ 14 h 61"/>
                <a:gd name="T12" fmla="*/ 2 w 59"/>
                <a:gd name="T13" fmla="*/ 19 h 61"/>
                <a:gd name="T14" fmla="*/ 0 w 59"/>
                <a:gd name="T15" fmla="*/ 25 h 61"/>
                <a:gd name="T16" fmla="*/ 0 w 59"/>
                <a:gd name="T17" fmla="*/ 30 h 61"/>
                <a:gd name="T18" fmla="*/ 0 w 59"/>
                <a:gd name="T19" fmla="*/ 37 h 61"/>
                <a:gd name="T20" fmla="*/ 2 w 59"/>
                <a:gd name="T21" fmla="*/ 42 h 61"/>
                <a:gd name="T22" fmla="*/ 4 w 59"/>
                <a:gd name="T23" fmla="*/ 48 h 61"/>
                <a:gd name="T24" fmla="*/ 8 w 59"/>
                <a:gd name="T25" fmla="*/ 52 h 61"/>
                <a:gd name="T26" fmla="*/ 13 w 59"/>
                <a:gd name="T27" fmla="*/ 56 h 61"/>
                <a:gd name="T28" fmla="*/ 17 w 59"/>
                <a:gd name="T29" fmla="*/ 58 h 61"/>
                <a:gd name="T30" fmla="*/ 24 w 59"/>
                <a:gd name="T31" fmla="*/ 60 h 61"/>
                <a:gd name="T32" fmla="*/ 29 w 59"/>
                <a:gd name="T33" fmla="*/ 61 h 61"/>
                <a:gd name="T34" fmla="*/ 35 w 59"/>
                <a:gd name="T35" fmla="*/ 60 h 61"/>
                <a:gd name="T36" fmla="*/ 42 w 59"/>
                <a:gd name="T37" fmla="*/ 58 h 61"/>
                <a:gd name="T38" fmla="*/ 46 w 59"/>
                <a:gd name="T39" fmla="*/ 56 h 61"/>
                <a:gd name="T40" fmla="*/ 50 w 59"/>
                <a:gd name="T41" fmla="*/ 52 h 61"/>
                <a:gd name="T42" fmla="*/ 55 w 59"/>
                <a:gd name="T43" fmla="*/ 48 h 61"/>
                <a:gd name="T44" fmla="*/ 57 w 59"/>
                <a:gd name="T45" fmla="*/ 42 h 61"/>
                <a:gd name="T46" fmla="*/ 59 w 59"/>
                <a:gd name="T47" fmla="*/ 37 h 61"/>
                <a:gd name="T48" fmla="*/ 59 w 59"/>
                <a:gd name="T49" fmla="*/ 30 h 61"/>
                <a:gd name="T50" fmla="*/ 59 w 59"/>
                <a:gd name="T51" fmla="*/ 25 h 61"/>
                <a:gd name="T52" fmla="*/ 57 w 59"/>
                <a:gd name="T53" fmla="*/ 19 h 61"/>
                <a:gd name="T54" fmla="*/ 55 w 59"/>
                <a:gd name="T55" fmla="*/ 14 h 61"/>
                <a:gd name="T56" fmla="*/ 50 w 59"/>
                <a:gd name="T57" fmla="*/ 9 h 61"/>
                <a:gd name="T58" fmla="*/ 46 w 59"/>
                <a:gd name="T59" fmla="*/ 6 h 61"/>
                <a:gd name="T60" fmla="*/ 42 w 59"/>
                <a:gd name="T61" fmla="*/ 3 h 61"/>
                <a:gd name="T62" fmla="*/ 35 w 59"/>
                <a:gd name="T63" fmla="*/ 1 h 61"/>
                <a:gd name="T64" fmla="*/ 29 w 59"/>
                <a:gd name="T65" fmla="*/ 0 h 61"/>
                <a:gd name="T66" fmla="*/ 29 w 59"/>
                <a:gd name="T6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61">
                  <a:moveTo>
                    <a:pt x="29" y="0"/>
                  </a:moveTo>
                  <a:lnTo>
                    <a:pt x="24" y="1"/>
                  </a:lnTo>
                  <a:lnTo>
                    <a:pt x="17" y="3"/>
                  </a:lnTo>
                  <a:lnTo>
                    <a:pt x="13" y="6"/>
                  </a:lnTo>
                  <a:lnTo>
                    <a:pt x="8" y="9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2"/>
                  </a:lnTo>
                  <a:lnTo>
                    <a:pt x="13" y="56"/>
                  </a:lnTo>
                  <a:lnTo>
                    <a:pt x="17" y="58"/>
                  </a:lnTo>
                  <a:lnTo>
                    <a:pt x="24" y="60"/>
                  </a:lnTo>
                  <a:lnTo>
                    <a:pt x="29" y="61"/>
                  </a:lnTo>
                  <a:lnTo>
                    <a:pt x="35" y="60"/>
                  </a:lnTo>
                  <a:lnTo>
                    <a:pt x="42" y="58"/>
                  </a:lnTo>
                  <a:lnTo>
                    <a:pt x="46" y="56"/>
                  </a:lnTo>
                  <a:lnTo>
                    <a:pt x="50" y="52"/>
                  </a:lnTo>
                  <a:lnTo>
                    <a:pt x="55" y="48"/>
                  </a:lnTo>
                  <a:lnTo>
                    <a:pt x="57" y="42"/>
                  </a:lnTo>
                  <a:lnTo>
                    <a:pt x="59" y="37"/>
                  </a:lnTo>
                  <a:lnTo>
                    <a:pt x="59" y="30"/>
                  </a:lnTo>
                  <a:lnTo>
                    <a:pt x="59" y="25"/>
                  </a:lnTo>
                  <a:lnTo>
                    <a:pt x="57" y="19"/>
                  </a:lnTo>
                  <a:lnTo>
                    <a:pt x="55" y="14"/>
                  </a:lnTo>
                  <a:lnTo>
                    <a:pt x="50" y="9"/>
                  </a:lnTo>
                  <a:lnTo>
                    <a:pt x="46" y="6"/>
                  </a:lnTo>
                  <a:lnTo>
                    <a:pt x="42" y="3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472"/>
            <p:cNvSpPr>
              <a:spLocks noEditPoints="1"/>
            </p:cNvSpPr>
            <p:nvPr/>
          </p:nvSpPr>
          <p:spPr bwMode="auto">
            <a:xfrm>
              <a:off x="4329113" y="1458913"/>
              <a:ext cx="287338" cy="192088"/>
            </a:xfrm>
            <a:custGeom>
              <a:avLst/>
              <a:gdLst>
                <a:gd name="T0" fmla="*/ 211 w 905"/>
                <a:gd name="T1" fmla="*/ 302 h 604"/>
                <a:gd name="T2" fmla="*/ 120 w 905"/>
                <a:gd name="T3" fmla="*/ 181 h 604"/>
                <a:gd name="T4" fmla="*/ 103 w 905"/>
                <a:gd name="T5" fmla="*/ 178 h 604"/>
                <a:gd name="T6" fmla="*/ 87 w 905"/>
                <a:gd name="T7" fmla="*/ 170 h 604"/>
                <a:gd name="T8" fmla="*/ 74 w 905"/>
                <a:gd name="T9" fmla="*/ 159 h 604"/>
                <a:gd name="T10" fmla="*/ 65 w 905"/>
                <a:gd name="T11" fmla="*/ 143 h 604"/>
                <a:gd name="T12" fmla="*/ 61 w 905"/>
                <a:gd name="T13" fmla="*/ 127 h 604"/>
                <a:gd name="T14" fmla="*/ 62 w 905"/>
                <a:gd name="T15" fmla="*/ 108 h 604"/>
                <a:gd name="T16" fmla="*/ 67 w 905"/>
                <a:gd name="T17" fmla="*/ 91 h 604"/>
                <a:gd name="T18" fmla="*/ 77 w 905"/>
                <a:gd name="T19" fmla="*/ 78 h 604"/>
                <a:gd name="T20" fmla="*/ 92 w 905"/>
                <a:gd name="T21" fmla="*/ 67 h 604"/>
                <a:gd name="T22" fmla="*/ 108 w 905"/>
                <a:gd name="T23" fmla="*/ 62 h 604"/>
                <a:gd name="T24" fmla="*/ 127 w 905"/>
                <a:gd name="T25" fmla="*/ 61 h 604"/>
                <a:gd name="T26" fmla="*/ 144 w 905"/>
                <a:gd name="T27" fmla="*/ 65 h 604"/>
                <a:gd name="T28" fmla="*/ 159 w 905"/>
                <a:gd name="T29" fmla="*/ 74 h 604"/>
                <a:gd name="T30" fmla="*/ 170 w 905"/>
                <a:gd name="T31" fmla="*/ 87 h 604"/>
                <a:gd name="T32" fmla="*/ 178 w 905"/>
                <a:gd name="T33" fmla="*/ 103 h 604"/>
                <a:gd name="T34" fmla="*/ 181 w 905"/>
                <a:gd name="T35" fmla="*/ 120 h 604"/>
                <a:gd name="T36" fmla="*/ 178 w 905"/>
                <a:gd name="T37" fmla="*/ 138 h 604"/>
                <a:gd name="T38" fmla="*/ 170 w 905"/>
                <a:gd name="T39" fmla="*/ 155 h 604"/>
                <a:gd name="T40" fmla="*/ 159 w 905"/>
                <a:gd name="T41" fmla="*/ 167 h 604"/>
                <a:gd name="T42" fmla="*/ 144 w 905"/>
                <a:gd name="T43" fmla="*/ 177 h 604"/>
                <a:gd name="T44" fmla="*/ 127 w 905"/>
                <a:gd name="T45" fmla="*/ 181 h 604"/>
                <a:gd name="T46" fmla="*/ 829 w 905"/>
                <a:gd name="T47" fmla="*/ 0 h 604"/>
                <a:gd name="T48" fmla="*/ 60 w 905"/>
                <a:gd name="T49" fmla="*/ 2 h 604"/>
                <a:gd name="T50" fmla="*/ 40 w 905"/>
                <a:gd name="T51" fmla="*/ 9 h 604"/>
                <a:gd name="T52" fmla="*/ 22 w 905"/>
                <a:gd name="T53" fmla="*/ 22 h 604"/>
                <a:gd name="T54" fmla="*/ 9 w 905"/>
                <a:gd name="T55" fmla="*/ 39 h 604"/>
                <a:gd name="T56" fmla="*/ 1 w 905"/>
                <a:gd name="T57" fmla="*/ 61 h 604"/>
                <a:gd name="T58" fmla="*/ 0 w 905"/>
                <a:gd name="T59" fmla="*/ 347 h 604"/>
                <a:gd name="T60" fmla="*/ 3 w 905"/>
                <a:gd name="T61" fmla="*/ 369 h 604"/>
                <a:gd name="T62" fmla="*/ 13 w 905"/>
                <a:gd name="T63" fmla="*/ 389 h 604"/>
                <a:gd name="T64" fmla="*/ 27 w 905"/>
                <a:gd name="T65" fmla="*/ 405 h 604"/>
                <a:gd name="T66" fmla="*/ 46 w 905"/>
                <a:gd name="T67" fmla="*/ 417 h 604"/>
                <a:gd name="T68" fmla="*/ 67 w 905"/>
                <a:gd name="T69" fmla="*/ 422 h 604"/>
                <a:gd name="T70" fmla="*/ 181 w 905"/>
                <a:gd name="T71" fmla="*/ 588 h 604"/>
                <a:gd name="T72" fmla="*/ 183 w 905"/>
                <a:gd name="T73" fmla="*/ 597 h 604"/>
                <a:gd name="T74" fmla="*/ 190 w 905"/>
                <a:gd name="T75" fmla="*/ 603 h 604"/>
                <a:gd name="T76" fmla="*/ 709 w 905"/>
                <a:gd name="T77" fmla="*/ 604 h 604"/>
                <a:gd name="T78" fmla="*/ 718 w 905"/>
                <a:gd name="T79" fmla="*/ 600 h 604"/>
                <a:gd name="T80" fmla="*/ 723 w 905"/>
                <a:gd name="T81" fmla="*/ 594 h 604"/>
                <a:gd name="T82" fmla="*/ 724 w 905"/>
                <a:gd name="T83" fmla="*/ 422 h 604"/>
                <a:gd name="T84" fmla="*/ 845 w 905"/>
                <a:gd name="T85" fmla="*/ 421 h 604"/>
                <a:gd name="T86" fmla="*/ 866 w 905"/>
                <a:gd name="T87" fmla="*/ 413 h 604"/>
                <a:gd name="T88" fmla="*/ 882 w 905"/>
                <a:gd name="T89" fmla="*/ 400 h 604"/>
                <a:gd name="T90" fmla="*/ 896 w 905"/>
                <a:gd name="T91" fmla="*/ 382 h 604"/>
                <a:gd name="T92" fmla="*/ 903 w 905"/>
                <a:gd name="T93" fmla="*/ 363 h 604"/>
                <a:gd name="T94" fmla="*/ 905 w 905"/>
                <a:gd name="T95" fmla="*/ 75 h 604"/>
                <a:gd name="T96" fmla="*/ 901 w 905"/>
                <a:gd name="T97" fmla="*/ 53 h 604"/>
                <a:gd name="T98" fmla="*/ 892 w 905"/>
                <a:gd name="T99" fmla="*/ 33 h 604"/>
                <a:gd name="T100" fmla="*/ 877 w 905"/>
                <a:gd name="T101" fmla="*/ 17 h 604"/>
                <a:gd name="T102" fmla="*/ 859 w 905"/>
                <a:gd name="T103" fmla="*/ 6 h 604"/>
                <a:gd name="T104" fmla="*/ 837 w 905"/>
                <a:gd name="T105" fmla="*/ 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5" h="604">
                  <a:moveTo>
                    <a:pt x="693" y="573"/>
                  </a:moveTo>
                  <a:lnTo>
                    <a:pt x="211" y="573"/>
                  </a:lnTo>
                  <a:lnTo>
                    <a:pt x="211" y="302"/>
                  </a:lnTo>
                  <a:lnTo>
                    <a:pt x="693" y="302"/>
                  </a:lnTo>
                  <a:lnTo>
                    <a:pt x="693" y="573"/>
                  </a:lnTo>
                  <a:close/>
                  <a:moveTo>
                    <a:pt x="120" y="181"/>
                  </a:moveTo>
                  <a:lnTo>
                    <a:pt x="114" y="181"/>
                  </a:lnTo>
                  <a:lnTo>
                    <a:pt x="108" y="180"/>
                  </a:lnTo>
                  <a:lnTo>
                    <a:pt x="103" y="178"/>
                  </a:lnTo>
                  <a:lnTo>
                    <a:pt x="97" y="177"/>
                  </a:lnTo>
                  <a:lnTo>
                    <a:pt x="92" y="173"/>
                  </a:lnTo>
                  <a:lnTo>
                    <a:pt x="87" y="170"/>
                  </a:lnTo>
                  <a:lnTo>
                    <a:pt x="82" y="167"/>
                  </a:lnTo>
                  <a:lnTo>
                    <a:pt x="77" y="163"/>
                  </a:lnTo>
                  <a:lnTo>
                    <a:pt x="74" y="159"/>
                  </a:lnTo>
                  <a:lnTo>
                    <a:pt x="71" y="155"/>
                  </a:lnTo>
                  <a:lnTo>
                    <a:pt x="67" y="149"/>
                  </a:lnTo>
                  <a:lnTo>
                    <a:pt x="65" y="143"/>
                  </a:lnTo>
                  <a:lnTo>
                    <a:pt x="63" y="138"/>
                  </a:lnTo>
                  <a:lnTo>
                    <a:pt x="62" y="132"/>
                  </a:lnTo>
                  <a:lnTo>
                    <a:pt x="61" y="127"/>
                  </a:lnTo>
                  <a:lnTo>
                    <a:pt x="60" y="120"/>
                  </a:lnTo>
                  <a:lnTo>
                    <a:pt x="61" y="115"/>
                  </a:lnTo>
                  <a:lnTo>
                    <a:pt x="62" y="108"/>
                  </a:lnTo>
                  <a:lnTo>
                    <a:pt x="63" y="103"/>
                  </a:lnTo>
                  <a:lnTo>
                    <a:pt x="65" y="97"/>
                  </a:lnTo>
                  <a:lnTo>
                    <a:pt x="67" y="91"/>
                  </a:lnTo>
                  <a:lnTo>
                    <a:pt x="71" y="87"/>
                  </a:lnTo>
                  <a:lnTo>
                    <a:pt x="74" y="83"/>
                  </a:lnTo>
                  <a:lnTo>
                    <a:pt x="77" y="78"/>
                  </a:lnTo>
                  <a:lnTo>
                    <a:pt x="82" y="74"/>
                  </a:lnTo>
                  <a:lnTo>
                    <a:pt x="87" y="70"/>
                  </a:lnTo>
                  <a:lnTo>
                    <a:pt x="92" y="67"/>
                  </a:lnTo>
                  <a:lnTo>
                    <a:pt x="97" y="65"/>
                  </a:lnTo>
                  <a:lnTo>
                    <a:pt x="103" y="63"/>
                  </a:lnTo>
                  <a:lnTo>
                    <a:pt x="108" y="62"/>
                  </a:lnTo>
                  <a:lnTo>
                    <a:pt x="114" y="61"/>
                  </a:lnTo>
                  <a:lnTo>
                    <a:pt x="120" y="61"/>
                  </a:lnTo>
                  <a:lnTo>
                    <a:pt x="127" y="61"/>
                  </a:lnTo>
                  <a:lnTo>
                    <a:pt x="133" y="62"/>
                  </a:lnTo>
                  <a:lnTo>
                    <a:pt x="138" y="63"/>
                  </a:lnTo>
                  <a:lnTo>
                    <a:pt x="144" y="65"/>
                  </a:lnTo>
                  <a:lnTo>
                    <a:pt x="149" y="67"/>
                  </a:lnTo>
                  <a:lnTo>
                    <a:pt x="155" y="70"/>
                  </a:lnTo>
                  <a:lnTo>
                    <a:pt x="159" y="74"/>
                  </a:lnTo>
                  <a:lnTo>
                    <a:pt x="164" y="78"/>
                  </a:lnTo>
                  <a:lnTo>
                    <a:pt x="167" y="83"/>
                  </a:lnTo>
                  <a:lnTo>
                    <a:pt x="170" y="87"/>
                  </a:lnTo>
                  <a:lnTo>
                    <a:pt x="173" y="91"/>
                  </a:lnTo>
                  <a:lnTo>
                    <a:pt x="176" y="97"/>
                  </a:lnTo>
                  <a:lnTo>
                    <a:pt x="178" y="103"/>
                  </a:lnTo>
                  <a:lnTo>
                    <a:pt x="179" y="108"/>
                  </a:lnTo>
                  <a:lnTo>
                    <a:pt x="180" y="115"/>
                  </a:lnTo>
                  <a:lnTo>
                    <a:pt x="181" y="120"/>
                  </a:lnTo>
                  <a:lnTo>
                    <a:pt x="180" y="127"/>
                  </a:lnTo>
                  <a:lnTo>
                    <a:pt x="179" y="132"/>
                  </a:lnTo>
                  <a:lnTo>
                    <a:pt x="178" y="138"/>
                  </a:lnTo>
                  <a:lnTo>
                    <a:pt x="176" y="143"/>
                  </a:lnTo>
                  <a:lnTo>
                    <a:pt x="173" y="149"/>
                  </a:lnTo>
                  <a:lnTo>
                    <a:pt x="170" y="155"/>
                  </a:lnTo>
                  <a:lnTo>
                    <a:pt x="167" y="159"/>
                  </a:lnTo>
                  <a:lnTo>
                    <a:pt x="164" y="163"/>
                  </a:lnTo>
                  <a:lnTo>
                    <a:pt x="159" y="167"/>
                  </a:lnTo>
                  <a:lnTo>
                    <a:pt x="155" y="171"/>
                  </a:lnTo>
                  <a:lnTo>
                    <a:pt x="149" y="173"/>
                  </a:lnTo>
                  <a:lnTo>
                    <a:pt x="144" y="177"/>
                  </a:lnTo>
                  <a:lnTo>
                    <a:pt x="138" y="178"/>
                  </a:lnTo>
                  <a:lnTo>
                    <a:pt x="133" y="180"/>
                  </a:lnTo>
                  <a:lnTo>
                    <a:pt x="127" y="181"/>
                  </a:lnTo>
                  <a:lnTo>
                    <a:pt x="120" y="181"/>
                  </a:lnTo>
                  <a:lnTo>
                    <a:pt x="120" y="181"/>
                  </a:lnTo>
                  <a:close/>
                  <a:moveTo>
                    <a:pt x="829" y="0"/>
                  </a:move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3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6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5" y="46"/>
                  </a:lnTo>
                  <a:lnTo>
                    <a:pt x="3" y="53"/>
                  </a:lnTo>
                  <a:lnTo>
                    <a:pt x="1" y="61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347"/>
                  </a:lnTo>
                  <a:lnTo>
                    <a:pt x="0" y="355"/>
                  </a:lnTo>
                  <a:lnTo>
                    <a:pt x="1" y="363"/>
                  </a:lnTo>
                  <a:lnTo>
                    <a:pt x="3" y="369"/>
                  </a:lnTo>
                  <a:lnTo>
                    <a:pt x="5" y="376"/>
                  </a:lnTo>
                  <a:lnTo>
                    <a:pt x="9" y="382"/>
                  </a:lnTo>
                  <a:lnTo>
                    <a:pt x="13" y="389"/>
                  </a:lnTo>
                  <a:lnTo>
                    <a:pt x="16" y="395"/>
                  </a:lnTo>
                  <a:lnTo>
                    <a:pt x="22" y="400"/>
                  </a:lnTo>
                  <a:lnTo>
                    <a:pt x="27" y="405"/>
                  </a:lnTo>
                  <a:lnTo>
                    <a:pt x="33" y="409"/>
                  </a:lnTo>
                  <a:lnTo>
                    <a:pt x="40" y="413"/>
                  </a:lnTo>
                  <a:lnTo>
                    <a:pt x="46" y="417"/>
                  </a:lnTo>
                  <a:lnTo>
                    <a:pt x="53" y="419"/>
                  </a:lnTo>
                  <a:lnTo>
                    <a:pt x="60" y="421"/>
                  </a:lnTo>
                  <a:lnTo>
                    <a:pt x="67" y="422"/>
                  </a:lnTo>
                  <a:lnTo>
                    <a:pt x="75" y="422"/>
                  </a:lnTo>
                  <a:lnTo>
                    <a:pt x="181" y="422"/>
                  </a:lnTo>
                  <a:lnTo>
                    <a:pt x="181" y="588"/>
                  </a:lnTo>
                  <a:lnTo>
                    <a:pt x="181" y="592"/>
                  </a:lnTo>
                  <a:lnTo>
                    <a:pt x="182" y="594"/>
                  </a:lnTo>
                  <a:lnTo>
                    <a:pt x="183" y="597"/>
                  </a:lnTo>
                  <a:lnTo>
                    <a:pt x="186" y="599"/>
                  </a:lnTo>
                  <a:lnTo>
                    <a:pt x="188" y="600"/>
                  </a:lnTo>
                  <a:lnTo>
                    <a:pt x="190" y="603"/>
                  </a:lnTo>
                  <a:lnTo>
                    <a:pt x="192" y="604"/>
                  </a:lnTo>
                  <a:lnTo>
                    <a:pt x="196" y="604"/>
                  </a:lnTo>
                  <a:lnTo>
                    <a:pt x="709" y="604"/>
                  </a:lnTo>
                  <a:lnTo>
                    <a:pt x="712" y="603"/>
                  </a:lnTo>
                  <a:lnTo>
                    <a:pt x="714" y="603"/>
                  </a:lnTo>
                  <a:lnTo>
                    <a:pt x="718" y="600"/>
                  </a:lnTo>
                  <a:lnTo>
                    <a:pt x="720" y="599"/>
                  </a:lnTo>
                  <a:lnTo>
                    <a:pt x="721" y="597"/>
                  </a:lnTo>
                  <a:lnTo>
                    <a:pt x="723" y="594"/>
                  </a:lnTo>
                  <a:lnTo>
                    <a:pt x="723" y="592"/>
                  </a:lnTo>
                  <a:lnTo>
                    <a:pt x="724" y="588"/>
                  </a:lnTo>
                  <a:lnTo>
                    <a:pt x="724" y="422"/>
                  </a:lnTo>
                  <a:lnTo>
                    <a:pt x="829" y="422"/>
                  </a:lnTo>
                  <a:lnTo>
                    <a:pt x="837" y="422"/>
                  </a:lnTo>
                  <a:lnTo>
                    <a:pt x="845" y="421"/>
                  </a:lnTo>
                  <a:lnTo>
                    <a:pt x="852" y="419"/>
                  </a:lnTo>
                  <a:lnTo>
                    <a:pt x="859" y="417"/>
                  </a:lnTo>
                  <a:lnTo>
                    <a:pt x="866" y="413"/>
                  </a:lnTo>
                  <a:lnTo>
                    <a:pt x="871" y="409"/>
                  </a:lnTo>
                  <a:lnTo>
                    <a:pt x="877" y="405"/>
                  </a:lnTo>
                  <a:lnTo>
                    <a:pt x="882" y="400"/>
                  </a:lnTo>
                  <a:lnTo>
                    <a:pt x="888" y="395"/>
                  </a:lnTo>
                  <a:lnTo>
                    <a:pt x="892" y="389"/>
                  </a:lnTo>
                  <a:lnTo>
                    <a:pt x="896" y="382"/>
                  </a:lnTo>
                  <a:lnTo>
                    <a:pt x="899" y="376"/>
                  </a:lnTo>
                  <a:lnTo>
                    <a:pt x="901" y="369"/>
                  </a:lnTo>
                  <a:lnTo>
                    <a:pt x="903" y="363"/>
                  </a:lnTo>
                  <a:lnTo>
                    <a:pt x="905" y="355"/>
                  </a:lnTo>
                  <a:lnTo>
                    <a:pt x="905" y="347"/>
                  </a:lnTo>
                  <a:lnTo>
                    <a:pt x="905" y="75"/>
                  </a:lnTo>
                  <a:lnTo>
                    <a:pt x="905" y="67"/>
                  </a:lnTo>
                  <a:lnTo>
                    <a:pt x="903" y="61"/>
                  </a:lnTo>
                  <a:lnTo>
                    <a:pt x="901" y="53"/>
                  </a:lnTo>
                  <a:lnTo>
                    <a:pt x="899" y="46"/>
                  </a:lnTo>
                  <a:lnTo>
                    <a:pt x="896" y="39"/>
                  </a:lnTo>
                  <a:lnTo>
                    <a:pt x="892" y="33"/>
                  </a:lnTo>
                  <a:lnTo>
                    <a:pt x="888" y="27"/>
                  </a:lnTo>
                  <a:lnTo>
                    <a:pt x="882" y="22"/>
                  </a:lnTo>
                  <a:lnTo>
                    <a:pt x="877" y="17"/>
                  </a:lnTo>
                  <a:lnTo>
                    <a:pt x="871" y="13"/>
                  </a:lnTo>
                  <a:lnTo>
                    <a:pt x="866" y="9"/>
                  </a:lnTo>
                  <a:lnTo>
                    <a:pt x="859" y="6"/>
                  </a:lnTo>
                  <a:lnTo>
                    <a:pt x="852" y="3"/>
                  </a:lnTo>
                  <a:lnTo>
                    <a:pt x="845" y="2"/>
                  </a:lnTo>
                  <a:lnTo>
                    <a:pt x="837" y="1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473"/>
            <p:cNvSpPr>
              <a:spLocks noEditPoints="1"/>
            </p:cNvSpPr>
            <p:nvPr/>
          </p:nvSpPr>
          <p:spPr bwMode="auto">
            <a:xfrm>
              <a:off x="4386263" y="1382713"/>
              <a:ext cx="173038" cy="66675"/>
            </a:xfrm>
            <a:custGeom>
              <a:avLst/>
              <a:gdLst>
                <a:gd name="T0" fmla="*/ 407 w 543"/>
                <a:gd name="T1" fmla="*/ 15 h 211"/>
                <a:gd name="T2" fmla="*/ 528 w 543"/>
                <a:gd name="T3" fmla="*/ 136 h 211"/>
                <a:gd name="T4" fmla="*/ 407 w 543"/>
                <a:gd name="T5" fmla="*/ 136 h 211"/>
                <a:gd name="T6" fmla="*/ 407 w 543"/>
                <a:gd name="T7" fmla="*/ 15 h 211"/>
                <a:gd name="T8" fmla="*/ 15 w 543"/>
                <a:gd name="T9" fmla="*/ 211 h 211"/>
                <a:gd name="T10" fmla="*/ 528 w 543"/>
                <a:gd name="T11" fmla="*/ 211 h 211"/>
                <a:gd name="T12" fmla="*/ 531 w 543"/>
                <a:gd name="T13" fmla="*/ 211 h 211"/>
                <a:gd name="T14" fmla="*/ 533 w 543"/>
                <a:gd name="T15" fmla="*/ 210 h 211"/>
                <a:gd name="T16" fmla="*/ 537 w 543"/>
                <a:gd name="T17" fmla="*/ 209 h 211"/>
                <a:gd name="T18" fmla="*/ 539 w 543"/>
                <a:gd name="T19" fmla="*/ 206 h 211"/>
                <a:gd name="T20" fmla="*/ 540 w 543"/>
                <a:gd name="T21" fmla="*/ 204 h 211"/>
                <a:gd name="T22" fmla="*/ 542 w 543"/>
                <a:gd name="T23" fmla="*/ 202 h 211"/>
                <a:gd name="T24" fmla="*/ 542 w 543"/>
                <a:gd name="T25" fmla="*/ 199 h 211"/>
                <a:gd name="T26" fmla="*/ 543 w 543"/>
                <a:gd name="T27" fmla="*/ 195 h 211"/>
                <a:gd name="T28" fmla="*/ 543 w 543"/>
                <a:gd name="T29" fmla="*/ 136 h 211"/>
                <a:gd name="T30" fmla="*/ 542 w 543"/>
                <a:gd name="T31" fmla="*/ 132 h 211"/>
                <a:gd name="T32" fmla="*/ 542 w 543"/>
                <a:gd name="T33" fmla="*/ 129 h 211"/>
                <a:gd name="T34" fmla="*/ 540 w 543"/>
                <a:gd name="T35" fmla="*/ 127 h 211"/>
                <a:gd name="T36" fmla="*/ 539 w 543"/>
                <a:gd name="T37" fmla="*/ 125 h 211"/>
                <a:gd name="T38" fmla="*/ 418 w 543"/>
                <a:gd name="T39" fmla="*/ 4 h 211"/>
                <a:gd name="T40" fmla="*/ 415 w 543"/>
                <a:gd name="T41" fmla="*/ 2 h 211"/>
                <a:gd name="T42" fmla="*/ 413 w 543"/>
                <a:gd name="T43" fmla="*/ 1 h 211"/>
                <a:gd name="T44" fmla="*/ 411 w 543"/>
                <a:gd name="T45" fmla="*/ 0 h 211"/>
                <a:gd name="T46" fmla="*/ 407 w 543"/>
                <a:gd name="T47" fmla="*/ 0 h 211"/>
                <a:gd name="T48" fmla="*/ 15 w 543"/>
                <a:gd name="T49" fmla="*/ 0 h 211"/>
                <a:gd name="T50" fmla="*/ 11 w 543"/>
                <a:gd name="T51" fmla="*/ 0 h 211"/>
                <a:gd name="T52" fmla="*/ 9 w 543"/>
                <a:gd name="T53" fmla="*/ 1 h 211"/>
                <a:gd name="T54" fmla="*/ 7 w 543"/>
                <a:gd name="T55" fmla="*/ 2 h 211"/>
                <a:gd name="T56" fmla="*/ 5 w 543"/>
                <a:gd name="T57" fmla="*/ 4 h 211"/>
                <a:gd name="T58" fmla="*/ 2 w 543"/>
                <a:gd name="T59" fmla="*/ 6 h 211"/>
                <a:gd name="T60" fmla="*/ 1 w 543"/>
                <a:gd name="T61" fmla="*/ 8 h 211"/>
                <a:gd name="T62" fmla="*/ 0 w 543"/>
                <a:gd name="T63" fmla="*/ 12 h 211"/>
                <a:gd name="T64" fmla="*/ 0 w 543"/>
                <a:gd name="T65" fmla="*/ 15 h 211"/>
                <a:gd name="T66" fmla="*/ 0 w 543"/>
                <a:gd name="T67" fmla="*/ 195 h 211"/>
                <a:gd name="T68" fmla="*/ 0 w 543"/>
                <a:gd name="T69" fmla="*/ 199 h 211"/>
                <a:gd name="T70" fmla="*/ 1 w 543"/>
                <a:gd name="T71" fmla="*/ 201 h 211"/>
                <a:gd name="T72" fmla="*/ 2 w 543"/>
                <a:gd name="T73" fmla="*/ 204 h 211"/>
                <a:gd name="T74" fmla="*/ 5 w 543"/>
                <a:gd name="T75" fmla="*/ 206 h 211"/>
                <a:gd name="T76" fmla="*/ 7 w 543"/>
                <a:gd name="T77" fmla="*/ 209 h 211"/>
                <a:gd name="T78" fmla="*/ 9 w 543"/>
                <a:gd name="T79" fmla="*/ 210 h 211"/>
                <a:gd name="T80" fmla="*/ 11 w 543"/>
                <a:gd name="T81" fmla="*/ 211 h 211"/>
                <a:gd name="T82" fmla="*/ 15 w 543"/>
                <a:gd name="T83" fmla="*/ 211 h 211"/>
                <a:gd name="T84" fmla="*/ 15 w 543"/>
                <a:gd name="T85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3" h="211">
                  <a:moveTo>
                    <a:pt x="407" y="15"/>
                  </a:moveTo>
                  <a:lnTo>
                    <a:pt x="528" y="136"/>
                  </a:lnTo>
                  <a:lnTo>
                    <a:pt x="407" y="136"/>
                  </a:lnTo>
                  <a:lnTo>
                    <a:pt x="407" y="15"/>
                  </a:lnTo>
                  <a:close/>
                  <a:moveTo>
                    <a:pt x="15" y="211"/>
                  </a:moveTo>
                  <a:lnTo>
                    <a:pt x="528" y="211"/>
                  </a:lnTo>
                  <a:lnTo>
                    <a:pt x="531" y="211"/>
                  </a:lnTo>
                  <a:lnTo>
                    <a:pt x="533" y="210"/>
                  </a:lnTo>
                  <a:lnTo>
                    <a:pt x="537" y="209"/>
                  </a:lnTo>
                  <a:lnTo>
                    <a:pt x="539" y="206"/>
                  </a:lnTo>
                  <a:lnTo>
                    <a:pt x="540" y="204"/>
                  </a:lnTo>
                  <a:lnTo>
                    <a:pt x="542" y="202"/>
                  </a:lnTo>
                  <a:lnTo>
                    <a:pt x="542" y="199"/>
                  </a:lnTo>
                  <a:lnTo>
                    <a:pt x="543" y="195"/>
                  </a:lnTo>
                  <a:lnTo>
                    <a:pt x="543" y="136"/>
                  </a:lnTo>
                  <a:lnTo>
                    <a:pt x="542" y="132"/>
                  </a:lnTo>
                  <a:lnTo>
                    <a:pt x="542" y="129"/>
                  </a:lnTo>
                  <a:lnTo>
                    <a:pt x="540" y="127"/>
                  </a:lnTo>
                  <a:lnTo>
                    <a:pt x="539" y="125"/>
                  </a:lnTo>
                  <a:lnTo>
                    <a:pt x="418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1" y="0"/>
                  </a:lnTo>
                  <a:lnTo>
                    <a:pt x="407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5"/>
                  </a:lnTo>
                  <a:lnTo>
                    <a:pt x="0" y="199"/>
                  </a:lnTo>
                  <a:lnTo>
                    <a:pt x="1" y="201"/>
                  </a:lnTo>
                  <a:lnTo>
                    <a:pt x="2" y="204"/>
                  </a:lnTo>
                  <a:lnTo>
                    <a:pt x="5" y="206"/>
                  </a:lnTo>
                  <a:lnTo>
                    <a:pt x="7" y="209"/>
                  </a:lnTo>
                  <a:lnTo>
                    <a:pt x="9" y="210"/>
                  </a:lnTo>
                  <a:lnTo>
                    <a:pt x="11" y="211"/>
                  </a:lnTo>
                  <a:lnTo>
                    <a:pt x="15" y="211"/>
                  </a:lnTo>
                  <a:lnTo>
                    <a:pt x="15" y="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474"/>
            <p:cNvSpPr>
              <a:spLocks/>
            </p:cNvSpPr>
            <p:nvPr/>
          </p:nvSpPr>
          <p:spPr bwMode="auto">
            <a:xfrm>
              <a:off x="4414838" y="1573213"/>
              <a:ext cx="115888" cy="11113"/>
            </a:xfrm>
            <a:custGeom>
              <a:avLst/>
              <a:gdLst>
                <a:gd name="T0" fmla="*/ 15 w 363"/>
                <a:gd name="T1" fmla="*/ 31 h 31"/>
                <a:gd name="T2" fmla="*/ 347 w 363"/>
                <a:gd name="T3" fmla="*/ 31 h 31"/>
                <a:gd name="T4" fmla="*/ 350 w 363"/>
                <a:gd name="T5" fmla="*/ 31 h 31"/>
                <a:gd name="T6" fmla="*/ 353 w 363"/>
                <a:gd name="T7" fmla="*/ 30 h 31"/>
                <a:gd name="T8" fmla="*/ 356 w 363"/>
                <a:gd name="T9" fmla="*/ 29 h 31"/>
                <a:gd name="T10" fmla="*/ 358 w 363"/>
                <a:gd name="T11" fmla="*/ 27 h 31"/>
                <a:gd name="T12" fmla="*/ 359 w 363"/>
                <a:gd name="T13" fmla="*/ 25 h 31"/>
                <a:gd name="T14" fmla="*/ 361 w 363"/>
                <a:gd name="T15" fmla="*/ 21 h 31"/>
                <a:gd name="T16" fmla="*/ 363 w 363"/>
                <a:gd name="T17" fmla="*/ 19 h 31"/>
                <a:gd name="T18" fmla="*/ 363 w 363"/>
                <a:gd name="T19" fmla="*/ 16 h 31"/>
                <a:gd name="T20" fmla="*/ 363 w 363"/>
                <a:gd name="T21" fmla="*/ 13 h 31"/>
                <a:gd name="T22" fmla="*/ 361 w 363"/>
                <a:gd name="T23" fmla="*/ 10 h 31"/>
                <a:gd name="T24" fmla="*/ 359 w 363"/>
                <a:gd name="T25" fmla="*/ 8 h 31"/>
                <a:gd name="T26" fmla="*/ 358 w 363"/>
                <a:gd name="T27" fmla="*/ 6 h 31"/>
                <a:gd name="T28" fmla="*/ 356 w 363"/>
                <a:gd name="T29" fmla="*/ 4 h 31"/>
                <a:gd name="T30" fmla="*/ 353 w 363"/>
                <a:gd name="T31" fmla="*/ 3 h 31"/>
                <a:gd name="T32" fmla="*/ 350 w 363"/>
                <a:gd name="T33" fmla="*/ 2 h 31"/>
                <a:gd name="T34" fmla="*/ 347 w 363"/>
                <a:gd name="T35" fmla="*/ 2 h 31"/>
                <a:gd name="T36" fmla="*/ 15 w 363"/>
                <a:gd name="T37" fmla="*/ 0 h 31"/>
                <a:gd name="T38" fmla="*/ 12 w 363"/>
                <a:gd name="T39" fmla="*/ 2 h 31"/>
                <a:gd name="T40" fmla="*/ 10 w 363"/>
                <a:gd name="T41" fmla="*/ 3 h 31"/>
                <a:gd name="T42" fmla="*/ 6 w 363"/>
                <a:gd name="T43" fmla="*/ 4 h 31"/>
                <a:gd name="T44" fmla="*/ 4 w 363"/>
                <a:gd name="T45" fmla="*/ 6 h 31"/>
                <a:gd name="T46" fmla="*/ 3 w 363"/>
                <a:gd name="T47" fmla="*/ 8 h 31"/>
                <a:gd name="T48" fmla="*/ 1 w 363"/>
                <a:gd name="T49" fmla="*/ 10 h 31"/>
                <a:gd name="T50" fmla="*/ 1 w 363"/>
                <a:gd name="T51" fmla="*/ 13 h 31"/>
                <a:gd name="T52" fmla="*/ 0 w 363"/>
                <a:gd name="T53" fmla="*/ 16 h 31"/>
                <a:gd name="T54" fmla="*/ 1 w 363"/>
                <a:gd name="T55" fmla="*/ 19 h 31"/>
                <a:gd name="T56" fmla="*/ 1 w 363"/>
                <a:gd name="T57" fmla="*/ 21 h 31"/>
                <a:gd name="T58" fmla="*/ 3 w 363"/>
                <a:gd name="T59" fmla="*/ 25 h 31"/>
                <a:gd name="T60" fmla="*/ 4 w 363"/>
                <a:gd name="T61" fmla="*/ 27 h 31"/>
                <a:gd name="T62" fmla="*/ 6 w 363"/>
                <a:gd name="T63" fmla="*/ 29 h 31"/>
                <a:gd name="T64" fmla="*/ 10 w 363"/>
                <a:gd name="T65" fmla="*/ 30 h 31"/>
                <a:gd name="T66" fmla="*/ 12 w 363"/>
                <a:gd name="T67" fmla="*/ 31 h 31"/>
                <a:gd name="T68" fmla="*/ 15 w 363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1">
                  <a:moveTo>
                    <a:pt x="15" y="31"/>
                  </a:moveTo>
                  <a:lnTo>
                    <a:pt x="347" y="31"/>
                  </a:lnTo>
                  <a:lnTo>
                    <a:pt x="350" y="31"/>
                  </a:lnTo>
                  <a:lnTo>
                    <a:pt x="353" y="30"/>
                  </a:lnTo>
                  <a:lnTo>
                    <a:pt x="356" y="29"/>
                  </a:lnTo>
                  <a:lnTo>
                    <a:pt x="358" y="27"/>
                  </a:lnTo>
                  <a:lnTo>
                    <a:pt x="359" y="25"/>
                  </a:lnTo>
                  <a:lnTo>
                    <a:pt x="361" y="21"/>
                  </a:lnTo>
                  <a:lnTo>
                    <a:pt x="363" y="19"/>
                  </a:lnTo>
                  <a:lnTo>
                    <a:pt x="363" y="16"/>
                  </a:lnTo>
                  <a:lnTo>
                    <a:pt x="363" y="13"/>
                  </a:lnTo>
                  <a:lnTo>
                    <a:pt x="361" y="10"/>
                  </a:lnTo>
                  <a:lnTo>
                    <a:pt x="359" y="8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3" y="3"/>
                  </a:lnTo>
                  <a:lnTo>
                    <a:pt x="350" y="2"/>
                  </a:lnTo>
                  <a:lnTo>
                    <a:pt x="347" y="2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0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10" y="30"/>
                  </a:lnTo>
                  <a:lnTo>
                    <a:pt x="12" y="31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475"/>
            <p:cNvSpPr>
              <a:spLocks/>
            </p:cNvSpPr>
            <p:nvPr/>
          </p:nvSpPr>
          <p:spPr bwMode="auto">
            <a:xfrm>
              <a:off x="4414838" y="1593850"/>
              <a:ext cx="115888" cy="9525"/>
            </a:xfrm>
            <a:custGeom>
              <a:avLst/>
              <a:gdLst>
                <a:gd name="T0" fmla="*/ 15 w 363"/>
                <a:gd name="T1" fmla="*/ 30 h 30"/>
                <a:gd name="T2" fmla="*/ 347 w 363"/>
                <a:gd name="T3" fmla="*/ 30 h 30"/>
                <a:gd name="T4" fmla="*/ 350 w 363"/>
                <a:gd name="T5" fmla="*/ 30 h 30"/>
                <a:gd name="T6" fmla="*/ 353 w 363"/>
                <a:gd name="T7" fmla="*/ 29 h 30"/>
                <a:gd name="T8" fmla="*/ 356 w 363"/>
                <a:gd name="T9" fmla="*/ 28 h 30"/>
                <a:gd name="T10" fmla="*/ 358 w 363"/>
                <a:gd name="T11" fmla="*/ 26 h 30"/>
                <a:gd name="T12" fmla="*/ 359 w 363"/>
                <a:gd name="T13" fmla="*/ 23 h 30"/>
                <a:gd name="T14" fmla="*/ 361 w 363"/>
                <a:gd name="T15" fmla="*/ 21 h 30"/>
                <a:gd name="T16" fmla="*/ 363 w 363"/>
                <a:gd name="T17" fmla="*/ 19 h 30"/>
                <a:gd name="T18" fmla="*/ 363 w 363"/>
                <a:gd name="T19" fmla="*/ 16 h 30"/>
                <a:gd name="T20" fmla="*/ 363 w 363"/>
                <a:gd name="T21" fmla="*/ 12 h 30"/>
                <a:gd name="T22" fmla="*/ 361 w 363"/>
                <a:gd name="T23" fmla="*/ 9 h 30"/>
                <a:gd name="T24" fmla="*/ 359 w 363"/>
                <a:gd name="T25" fmla="*/ 7 h 30"/>
                <a:gd name="T26" fmla="*/ 358 w 363"/>
                <a:gd name="T27" fmla="*/ 5 h 30"/>
                <a:gd name="T28" fmla="*/ 356 w 363"/>
                <a:gd name="T29" fmla="*/ 2 h 30"/>
                <a:gd name="T30" fmla="*/ 353 w 363"/>
                <a:gd name="T31" fmla="*/ 1 h 30"/>
                <a:gd name="T32" fmla="*/ 350 w 363"/>
                <a:gd name="T33" fmla="*/ 0 h 30"/>
                <a:gd name="T34" fmla="*/ 347 w 363"/>
                <a:gd name="T35" fmla="*/ 0 h 30"/>
                <a:gd name="T36" fmla="*/ 15 w 363"/>
                <a:gd name="T37" fmla="*/ 0 h 30"/>
                <a:gd name="T38" fmla="*/ 12 w 363"/>
                <a:gd name="T39" fmla="*/ 0 h 30"/>
                <a:gd name="T40" fmla="*/ 10 w 363"/>
                <a:gd name="T41" fmla="*/ 1 h 30"/>
                <a:gd name="T42" fmla="*/ 6 w 363"/>
                <a:gd name="T43" fmla="*/ 2 h 30"/>
                <a:gd name="T44" fmla="*/ 4 w 363"/>
                <a:gd name="T45" fmla="*/ 5 h 30"/>
                <a:gd name="T46" fmla="*/ 3 w 363"/>
                <a:gd name="T47" fmla="*/ 7 h 30"/>
                <a:gd name="T48" fmla="*/ 1 w 363"/>
                <a:gd name="T49" fmla="*/ 9 h 30"/>
                <a:gd name="T50" fmla="*/ 1 w 363"/>
                <a:gd name="T51" fmla="*/ 12 h 30"/>
                <a:gd name="T52" fmla="*/ 0 w 363"/>
                <a:gd name="T53" fmla="*/ 16 h 30"/>
                <a:gd name="T54" fmla="*/ 1 w 363"/>
                <a:gd name="T55" fmla="*/ 18 h 30"/>
                <a:gd name="T56" fmla="*/ 1 w 363"/>
                <a:gd name="T57" fmla="*/ 21 h 30"/>
                <a:gd name="T58" fmla="*/ 3 w 363"/>
                <a:gd name="T59" fmla="*/ 23 h 30"/>
                <a:gd name="T60" fmla="*/ 4 w 363"/>
                <a:gd name="T61" fmla="*/ 26 h 30"/>
                <a:gd name="T62" fmla="*/ 6 w 363"/>
                <a:gd name="T63" fmla="*/ 28 h 30"/>
                <a:gd name="T64" fmla="*/ 10 w 363"/>
                <a:gd name="T65" fmla="*/ 29 h 30"/>
                <a:gd name="T66" fmla="*/ 12 w 363"/>
                <a:gd name="T67" fmla="*/ 30 h 30"/>
                <a:gd name="T68" fmla="*/ 15 w 363"/>
                <a:gd name="T69" fmla="*/ 30 h 30"/>
                <a:gd name="T70" fmla="*/ 15 w 363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3" h="30">
                  <a:moveTo>
                    <a:pt x="15" y="30"/>
                  </a:moveTo>
                  <a:lnTo>
                    <a:pt x="347" y="30"/>
                  </a:lnTo>
                  <a:lnTo>
                    <a:pt x="350" y="30"/>
                  </a:lnTo>
                  <a:lnTo>
                    <a:pt x="353" y="29"/>
                  </a:lnTo>
                  <a:lnTo>
                    <a:pt x="356" y="28"/>
                  </a:lnTo>
                  <a:lnTo>
                    <a:pt x="358" y="26"/>
                  </a:lnTo>
                  <a:lnTo>
                    <a:pt x="359" y="23"/>
                  </a:lnTo>
                  <a:lnTo>
                    <a:pt x="361" y="21"/>
                  </a:lnTo>
                  <a:lnTo>
                    <a:pt x="363" y="19"/>
                  </a:lnTo>
                  <a:lnTo>
                    <a:pt x="363" y="16"/>
                  </a:lnTo>
                  <a:lnTo>
                    <a:pt x="363" y="12"/>
                  </a:lnTo>
                  <a:lnTo>
                    <a:pt x="361" y="9"/>
                  </a:lnTo>
                  <a:lnTo>
                    <a:pt x="359" y="7"/>
                  </a:lnTo>
                  <a:lnTo>
                    <a:pt x="358" y="5"/>
                  </a:lnTo>
                  <a:lnTo>
                    <a:pt x="356" y="2"/>
                  </a:lnTo>
                  <a:lnTo>
                    <a:pt x="353" y="1"/>
                  </a:lnTo>
                  <a:lnTo>
                    <a:pt x="350" y="0"/>
                  </a:lnTo>
                  <a:lnTo>
                    <a:pt x="34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476"/>
            <p:cNvSpPr>
              <a:spLocks/>
            </p:cNvSpPr>
            <p:nvPr/>
          </p:nvSpPr>
          <p:spPr bwMode="auto">
            <a:xfrm>
              <a:off x="4414838" y="1612900"/>
              <a:ext cx="115888" cy="9525"/>
            </a:xfrm>
            <a:custGeom>
              <a:avLst/>
              <a:gdLst>
                <a:gd name="T0" fmla="*/ 15 w 363"/>
                <a:gd name="T1" fmla="*/ 30 h 30"/>
                <a:gd name="T2" fmla="*/ 347 w 363"/>
                <a:gd name="T3" fmla="*/ 30 h 30"/>
                <a:gd name="T4" fmla="*/ 350 w 363"/>
                <a:gd name="T5" fmla="*/ 30 h 30"/>
                <a:gd name="T6" fmla="*/ 353 w 363"/>
                <a:gd name="T7" fmla="*/ 29 h 30"/>
                <a:gd name="T8" fmla="*/ 356 w 363"/>
                <a:gd name="T9" fmla="*/ 28 h 30"/>
                <a:gd name="T10" fmla="*/ 358 w 363"/>
                <a:gd name="T11" fmla="*/ 26 h 30"/>
                <a:gd name="T12" fmla="*/ 359 w 363"/>
                <a:gd name="T13" fmla="*/ 23 h 30"/>
                <a:gd name="T14" fmla="*/ 361 w 363"/>
                <a:gd name="T15" fmla="*/ 21 h 30"/>
                <a:gd name="T16" fmla="*/ 363 w 363"/>
                <a:gd name="T17" fmla="*/ 18 h 30"/>
                <a:gd name="T18" fmla="*/ 363 w 363"/>
                <a:gd name="T19" fmla="*/ 14 h 30"/>
                <a:gd name="T20" fmla="*/ 363 w 363"/>
                <a:gd name="T21" fmla="*/ 12 h 30"/>
                <a:gd name="T22" fmla="*/ 361 w 363"/>
                <a:gd name="T23" fmla="*/ 9 h 30"/>
                <a:gd name="T24" fmla="*/ 359 w 363"/>
                <a:gd name="T25" fmla="*/ 7 h 30"/>
                <a:gd name="T26" fmla="*/ 358 w 363"/>
                <a:gd name="T27" fmla="*/ 5 h 30"/>
                <a:gd name="T28" fmla="*/ 356 w 363"/>
                <a:gd name="T29" fmla="*/ 2 h 30"/>
                <a:gd name="T30" fmla="*/ 353 w 363"/>
                <a:gd name="T31" fmla="*/ 1 h 30"/>
                <a:gd name="T32" fmla="*/ 350 w 363"/>
                <a:gd name="T33" fmla="*/ 0 h 30"/>
                <a:gd name="T34" fmla="*/ 347 w 363"/>
                <a:gd name="T35" fmla="*/ 0 h 30"/>
                <a:gd name="T36" fmla="*/ 15 w 363"/>
                <a:gd name="T37" fmla="*/ 0 h 30"/>
                <a:gd name="T38" fmla="*/ 12 w 363"/>
                <a:gd name="T39" fmla="*/ 0 h 30"/>
                <a:gd name="T40" fmla="*/ 10 w 363"/>
                <a:gd name="T41" fmla="*/ 1 h 30"/>
                <a:gd name="T42" fmla="*/ 6 w 363"/>
                <a:gd name="T43" fmla="*/ 2 h 30"/>
                <a:gd name="T44" fmla="*/ 4 w 363"/>
                <a:gd name="T45" fmla="*/ 5 h 30"/>
                <a:gd name="T46" fmla="*/ 3 w 363"/>
                <a:gd name="T47" fmla="*/ 7 h 30"/>
                <a:gd name="T48" fmla="*/ 1 w 363"/>
                <a:gd name="T49" fmla="*/ 9 h 30"/>
                <a:gd name="T50" fmla="*/ 1 w 363"/>
                <a:gd name="T51" fmla="*/ 12 h 30"/>
                <a:gd name="T52" fmla="*/ 0 w 363"/>
                <a:gd name="T53" fmla="*/ 14 h 30"/>
                <a:gd name="T54" fmla="*/ 1 w 363"/>
                <a:gd name="T55" fmla="*/ 18 h 30"/>
                <a:gd name="T56" fmla="*/ 1 w 363"/>
                <a:gd name="T57" fmla="*/ 21 h 30"/>
                <a:gd name="T58" fmla="*/ 3 w 363"/>
                <a:gd name="T59" fmla="*/ 23 h 30"/>
                <a:gd name="T60" fmla="*/ 4 w 363"/>
                <a:gd name="T61" fmla="*/ 26 h 30"/>
                <a:gd name="T62" fmla="*/ 6 w 363"/>
                <a:gd name="T63" fmla="*/ 28 h 30"/>
                <a:gd name="T64" fmla="*/ 10 w 363"/>
                <a:gd name="T65" fmla="*/ 29 h 30"/>
                <a:gd name="T66" fmla="*/ 12 w 363"/>
                <a:gd name="T67" fmla="*/ 30 h 30"/>
                <a:gd name="T68" fmla="*/ 15 w 363"/>
                <a:gd name="T69" fmla="*/ 30 h 30"/>
                <a:gd name="T70" fmla="*/ 15 w 363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3" h="30">
                  <a:moveTo>
                    <a:pt x="15" y="30"/>
                  </a:moveTo>
                  <a:lnTo>
                    <a:pt x="347" y="30"/>
                  </a:lnTo>
                  <a:lnTo>
                    <a:pt x="350" y="30"/>
                  </a:lnTo>
                  <a:lnTo>
                    <a:pt x="353" y="29"/>
                  </a:lnTo>
                  <a:lnTo>
                    <a:pt x="356" y="28"/>
                  </a:lnTo>
                  <a:lnTo>
                    <a:pt x="358" y="26"/>
                  </a:lnTo>
                  <a:lnTo>
                    <a:pt x="359" y="23"/>
                  </a:lnTo>
                  <a:lnTo>
                    <a:pt x="361" y="21"/>
                  </a:lnTo>
                  <a:lnTo>
                    <a:pt x="363" y="18"/>
                  </a:lnTo>
                  <a:lnTo>
                    <a:pt x="363" y="14"/>
                  </a:lnTo>
                  <a:lnTo>
                    <a:pt x="363" y="12"/>
                  </a:lnTo>
                  <a:lnTo>
                    <a:pt x="361" y="9"/>
                  </a:lnTo>
                  <a:lnTo>
                    <a:pt x="359" y="7"/>
                  </a:lnTo>
                  <a:lnTo>
                    <a:pt x="358" y="5"/>
                  </a:lnTo>
                  <a:lnTo>
                    <a:pt x="356" y="2"/>
                  </a:lnTo>
                  <a:lnTo>
                    <a:pt x="353" y="1"/>
                  </a:lnTo>
                  <a:lnTo>
                    <a:pt x="350" y="0"/>
                  </a:lnTo>
                  <a:lnTo>
                    <a:pt x="34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4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3" name="Freeform 1496"/>
          <p:cNvSpPr>
            <a:spLocks noEditPoints="1"/>
          </p:cNvSpPr>
          <p:nvPr/>
        </p:nvSpPr>
        <p:spPr bwMode="auto">
          <a:xfrm>
            <a:off x="9380642" y="3386601"/>
            <a:ext cx="220663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1592"/>
          <p:cNvSpPr>
            <a:spLocks noEditPoints="1"/>
          </p:cNvSpPr>
          <p:nvPr/>
        </p:nvSpPr>
        <p:spPr bwMode="auto">
          <a:xfrm>
            <a:off x="8956264" y="5380481"/>
            <a:ext cx="287338" cy="268288"/>
          </a:xfrm>
          <a:custGeom>
            <a:avLst/>
            <a:gdLst>
              <a:gd name="T0" fmla="*/ 91 w 905"/>
              <a:gd name="T1" fmla="*/ 90 h 845"/>
              <a:gd name="T2" fmla="*/ 452 w 905"/>
              <a:gd name="T3" fmla="*/ 679 h 845"/>
              <a:gd name="T4" fmla="*/ 436 w 905"/>
              <a:gd name="T5" fmla="*/ 673 h 845"/>
              <a:gd name="T6" fmla="*/ 425 w 905"/>
              <a:gd name="T7" fmla="*/ 660 h 845"/>
              <a:gd name="T8" fmla="*/ 423 w 905"/>
              <a:gd name="T9" fmla="*/ 642 h 845"/>
              <a:gd name="T10" fmla="*/ 431 w 905"/>
              <a:gd name="T11" fmla="*/ 627 h 845"/>
              <a:gd name="T12" fmla="*/ 447 w 905"/>
              <a:gd name="T13" fmla="*/ 619 h 845"/>
              <a:gd name="T14" fmla="*/ 465 w 905"/>
              <a:gd name="T15" fmla="*/ 621 h 845"/>
              <a:gd name="T16" fmla="*/ 478 w 905"/>
              <a:gd name="T17" fmla="*/ 631 h 845"/>
              <a:gd name="T18" fmla="*/ 482 w 905"/>
              <a:gd name="T19" fmla="*/ 649 h 845"/>
              <a:gd name="T20" fmla="*/ 478 w 905"/>
              <a:gd name="T21" fmla="*/ 666 h 845"/>
              <a:gd name="T22" fmla="*/ 465 w 905"/>
              <a:gd name="T23" fmla="*/ 677 h 845"/>
              <a:gd name="T24" fmla="*/ 830 w 905"/>
              <a:gd name="T25" fmla="*/ 0 h 845"/>
              <a:gd name="T26" fmla="*/ 60 w 905"/>
              <a:gd name="T27" fmla="*/ 2 h 845"/>
              <a:gd name="T28" fmla="*/ 40 w 905"/>
              <a:gd name="T29" fmla="*/ 8 h 845"/>
              <a:gd name="T30" fmla="*/ 22 w 905"/>
              <a:gd name="T31" fmla="*/ 22 h 845"/>
              <a:gd name="T32" fmla="*/ 9 w 905"/>
              <a:gd name="T33" fmla="*/ 39 h 845"/>
              <a:gd name="T34" fmla="*/ 1 w 905"/>
              <a:gd name="T35" fmla="*/ 60 h 845"/>
              <a:gd name="T36" fmla="*/ 0 w 905"/>
              <a:gd name="T37" fmla="*/ 649 h 845"/>
              <a:gd name="T38" fmla="*/ 3 w 905"/>
              <a:gd name="T39" fmla="*/ 671 h 845"/>
              <a:gd name="T40" fmla="*/ 13 w 905"/>
              <a:gd name="T41" fmla="*/ 691 h 845"/>
              <a:gd name="T42" fmla="*/ 28 w 905"/>
              <a:gd name="T43" fmla="*/ 706 h 845"/>
              <a:gd name="T44" fmla="*/ 46 w 905"/>
              <a:gd name="T45" fmla="*/ 718 h 845"/>
              <a:gd name="T46" fmla="*/ 67 w 905"/>
              <a:gd name="T47" fmla="*/ 724 h 845"/>
              <a:gd name="T48" fmla="*/ 306 w 905"/>
              <a:gd name="T49" fmla="*/ 815 h 845"/>
              <a:gd name="T50" fmla="*/ 175 w 905"/>
              <a:gd name="T51" fmla="*/ 816 h 845"/>
              <a:gd name="T52" fmla="*/ 168 w 905"/>
              <a:gd name="T53" fmla="*/ 822 h 845"/>
              <a:gd name="T54" fmla="*/ 166 w 905"/>
              <a:gd name="T55" fmla="*/ 829 h 845"/>
              <a:gd name="T56" fmla="*/ 168 w 905"/>
              <a:gd name="T57" fmla="*/ 838 h 845"/>
              <a:gd name="T58" fmla="*/ 175 w 905"/>
              <a:gd name="T59" fmla="*/ 844 h 845"/>
              <a:gd name="T60" fmla="*/ 316 w 905"/>
              <a:gd name="T61" fmla="*/ 845 h 845"/>
              <a:gd name="T62" fmla="*/ 725 w 905"/>
              <a:gd name="T63" fmla="*/ 845 h 845"/>
              <a:gd name="T64" fmla="*/ 732 w 905"/>
              <a:gd name="T65" fmla="*/ 843 h 845"/>
              <a:gd name="T66" fmla="*/ 738 w 905"/>
              <a:gd name="T67" fmla="*/ 836 h 845"/>
              <a:gd name="T68" fmla="*/ 739 w 905"/>
              <a:gd name="T69" fmla="*/ 827 h 845"/>
              <a:gd name="T70" fmla="*/ 734 w 905"/>
              <a:gd name="T71" fmla="*/ 819 h 845"/>
              <a:gd name="T72" fmla="*/ 727 w 905"/>
              <a:gd name="T73" fmla="*/ 815 h 845"/>
              <a:gd name="T74" fmla="*/ 565 w 905"/>
              <a:gd name="T75" fmla="*/ 724 h 845"/>
              <a:gd name="T76" fmla="*/ 845 w 905"/>
              <a:gd name="T77" fmla="*/ 722 h 845"/>
              <a:gd name="T78" fmla="*/ 866 w 905"/>
              <a:gd name="T79" fmla="*/ 715 h 845"/>
              <a:gd name="T80" fmla="*/ 883 w 905"/>
              <a:gd name="T81" fmla="*/ 702 h 845"/>
              <a:gd name="T82" fmla="*/ 896 w 905"/>
              <a:gd name="T83" fmla="*/ 684 h 845"/>
              <a:gd name="T84" fmla="*/ 904 w 905"/>
              <a:gd name="T85" fmla="*/ 663 h 845"/>
              <a:gd name="T86" fmla="*/ 905 w 905"/>
              <a:gd name="T87" fmla="*/ 75 h 845"/>
              <a:gd name="T88" fmla="*/ 901 w 905"/>
              <a:gd name="T89" fmla="*/ 53 h 845"/>
              <a:gd name="T90" fmla="*/ 893 w 905"/>
              <a:gd name="T91" fmla="*/ 33 h 845"/>
              <a:gd name="T92" fmla="*/ 878 w 905"/>
              <a:gd name="T93" fmla="*/ 17 h 845"/>
              <a:gd name="T94" fmla="*/ 859 w 905"/>
              <a:gd name="T95" fmla="*/ 5 h 845"/>
              <a:gd name="T96" fmla="*/ 837 w 905"/>
              <a:gd name="T97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05" h="845">
                <a:moveTo>
                  <a:pt x="815" y="604"/>
                </a:moveTo>
                <a:lnTo>
                  <a:pt x="91" y="604"/>
                </a:lnTo>
                <a:lnTo>
                  <a:pt x="91" y="90"/>
                </a:lnTo>
                <a:lnTo>
                  <a:pt x="815" y="90"/>
                </a:lnTo>
                <a:lnTo>
                  <a:pt x="815" y="604"/>
                </a:lnTo>
                <a:close/>
                <a:moveTo>
                  <a:pt x="452" y="679"/>
                </a:moveTo>
                <a:lnTo>
                  <a:pt x="447" y="678"/>
                </a:lnTo>
                <a:lnTo>
                  <a:pt x="441" y="677"/>
                </a:lnTo>
                <a:lnTo>
                  <a:pt x="436" y="673"/>
                </a:lnTo>
                <a:lnTo>
                  <a:pt x="431" y="670"/>
                </a:lnTo>
                <a:lnTo>
                  <a:pt x="428" y="666"/>
                </a:lnTo>
                <a:lnTo>
                  <a:pt x="425" y="660"/>
                </a:lnTo>
                <a:lnTo>
                  <a:pt x="423" y="654"/>
                </a:lnTo>
                <a:lnTo>
                  <a:pt x="423" y="649"/>
                </a:lnTo>
                <a:lnTo>
                  <a:pt x="423" y="642"/>
                </a:lnTo>
                <a:lnTo>
                  <a:pt x="425" y="637"/>
                </a:lnTo>
                <a:lnTo>
                  <a:pt x="428" y="631"/>
                </a:lnTo>
                <a:lnTo>
                  <a:pt x="431" y="627"/>
                </a:lnTo>
                <a:lnTo>
                  <a:pt x="436" y="623"/>
                </a:lnTo>
                <a:lnTo>
                  <a:pt x="441" y="621"/>
                </a:lnTo>
                <a:lnTo>
                  <a:pt x="447" y="619"/>
                </a:lnTo>
                <a:lnTo>
                  <a:pt x="452" y="618"/>
                </a:lnTo>
                <a:lnTo>
                  <a:pt x="459" y="619"/>
                </a:lnTo>
                <a:lnTo>
                  <a:pt x="465" y="621"/>
                </a:lnTo>
                <a:lnTo>
                  <a:pt x="469" y="623"/>
                </a:lnTo>
                <a:lnTo>
                  <a:pt x="473" y="627"/>
                </a:lnTo>
                <a:lnTo>
                  <a:pt x="478" y="631"/>
                </a:lnTo>
                <a:lnTo>
                  <a:pt x="480" y="637"/>
                </a:lnTo>
                <a:lnTo>
                  <a:pt x="482" y="642"/>
                </a:lnTo>
                <a:lnTo>
                  <a:pt x="482" y="649"/>
                </a:lnTo>
                <a:lnTo>
                  <a:pt x="482" y="654"/>
                </a:lnTo>
                <a:lnTo>
                  <a:pt x="480" y="660"/>
                </a:lnTo>
                <a:lnTo>
                  <a:pt x="478" y="666"/>
                </a:lnTo>
                <a:lnTo>
                  <a:pt x="473" y="670"/>
                </a:lnTo>
                <a:lnTo>
                  <a:pt x="469" y="673"/>
                </a:lnTo>
                <a:lnTo>
                  <a:pt x="465" y="677"/>
                </a:lnTo>
                <a:lnTo>
                  <a:pt x="459" y="678"/>
                </a:lnTo>
                <a:lnTo>
                  <a:pt x="452" y="679"/>
                </a:lnTo>
                <a:close/>
                <a:moveTo>
                  <a:pt x="830" y="0"/>
                </a:moveTo>
                <a:lnTo>
                  <a:pt x="75" y="0"/>
                </a:lnTo>
                <a:lnTo>
                  <a:pt x="67" y="0"/>
                </a:lnTo>
                <a:lnTo>
                  <a:pt x="60" y="2"/>
                </a:lnTo>
                <a:lnTo>
                  <a:pt x="53" y="3"/>
                </a:lnTo>
                <a:lnTo>
                  <a:pt x="46" y="5"/>
                </a:lnTo>
                <a:lnTo>
                  <a:pt x="40" y="8"/>
                </a:lnTo>
                <a:lnTo>
                  <a:pt x="33" y="13"/>
                </a:lnTo>
                <a:lnTo>
                  <a:pt x="28" y="17"/>
                </a:lnTo>
                <a:lnTo>
                  <a:pt x="22" y="22"/>
                </a:lnTo>
                <a:lnTo>
                  <a:pt x="18" y="27"/>
                </a:lnTo>
                <a:lnTo>
                  <a:pt x="13" y="33"/>
                </a:lnTo>
                <a:lnTo>
                  <a:pt x="9" y="39"/>
                </a:lnTo>
                <a:lnTo>
                  <a:pt x="6" y="46"/>
                </a:lnTo>
                <a:lnTo>
                  <a:pt x="3" y="53"/>
                </a:lnTo>
                <a:lnTo>
                  <a:pt x="1" y="60"/>
                </a:lnTo>
                <a:lnTo>
                  <a:pt x="0" y="67"/>
                </a:lnTo>
                <a:lnTo>
                  <a:pt x="0" y="75"/>
                </a:lnTo>
                <a:lnTo>
                  <a:pt x="0" y="649"/>
                </a:lnTo>
                <a:lnTo>
                  <a:pt x="0" y="657"/>
                </a:lnTo>
                <a:lnTo>
                  <a:pt x="1" y="663"/>
                </a:lnTo>
                <a:lnTo>
                  <a:pt x="3" y="671"/>
                </a:lnTo>
                <a:lnTo>
                  <a:pt x="6" y="678"/>
                </a:lnTo>
                <a:lnTo>
                  <a:pt x="9" y="684"/>
                </a:lnTo>
                <a:lnTo>
                  <a:pt x="13" y="691"/>
                </a:lnTo>
                <a:lnTo>
                  <a:pt x="18" y="697"/>
                </a:lnTo>
                <a:lnTo>
                  <a:pt x="22" y="702"/>
                </a:lnTo>
                <a:lnTo>
                  <a:pt x="28" y="706"/>
                </a:lnTo>
                <a:lnTo>
                  <a:pt x="33" y="711"/>
                </a:lnTo>
                <a:lnTo>
                  <a:pt x="40" y="715"/>
                </a:lnTo>
                <a:lnTo>
                  <a:pt x="46" y="718"/>
                </a:lnTo>
                <a:lnTo>
                  <a:pt x="53" y="721"/>
                </a:lnTo>
                <a:lnTo>
                  <a:pt x="60" y="722"/>
                </a:lnTo>
                <a:lnTo>
                  <a:pt x="67" y="724"/>
                </a:lnTo>
                <a:lnTo>
                  <a:pt x="75" y="724"/>
                </a:lnTo>
                <a:lnTo>
                  <a:pt x="341" y="724"/>
                </a:lnTo>
                <a:lnTo>
                  <a:pt x="306" y="815"/>
                </a:lnTo>
                <a:lnTo>
                  <a:pt x="181" y="815"/>
                </a:lnTo>
                <a:lnTo>
                  <a:pt x="178" y="815"/>
                </a:lnTo>
                <a:lnTo>
                  <a:pt x="175" y="816"/>
                </a:lnTo>
                <a:lnTo>
                  <a:pt x="173" y="817"/>
                </a:lnTo>
                <a:lnTo>
                  <a:pt x="170" y="819"/>
                </a:lnTo>
                <a:lnTo>
                  <a:pt x="168" y="822"/>
                </a:lnTo>
                <a:lnTo>
                  <a:pt x="167" y="824"/>
                </a:lnTo>
                <a:lnTo>
                  <a:pt x="166" y="827"/>
                </a:lnTo>
                <a:lnTo>
                  <a:pt x="166" y="829"/>
                </a:lnTo>
                <a:lnTo>
                  <a:pt x="166" y="833"/>
                </a:lnTo>
                <a:lnTo>
                  <a:pt x="167" y="836"/>
                </a:lnTo>
                <a:lnTo>
                  <a:pt x="168" y="838"/>
                </a:lnTo>
                <a:lnTo>
                  <a:pt x="170" y="840"/>
                </a:lnTo>
                <a:lnTo>
                  <a:pt x="173" y="843"/>
                </a:lnTo>
                <a:lnTo>
                  <a:pt x="175" y="844"/>
                </a:lnTo>
                <a:lnTo>
                  <a:pt x="178" y="845"/>
                </a:lnTo>
                <a:lnTo>
                  <a:pt x="181" y="845"/>
                </a:lnTo>
                <a:lnTo>
                  <a:pt x="316" y="845"/>
                </a:lnTo>
                <a:lnTo>
                  <a:pt x="588" y="845"/>
                </a:lnTo>
                <a:lnTo>
                  <a:pt x="588" y="845"/>
                </a:lnTo>
                <a:lnTo>
                  <a:pt x="725" y="845"/>
                </a:lnTo>
                <a:lnTo>
                  <a:pt x="727" y="845"/>
                </a:lnTo>
                <a:lnTo>
                  <a:pt x="730" y="844"/>
                </a:lnTo>
                <a:lnTo>
                  <a:pt x="732" y="843"/>
                </a:lnTo>
                <a:lnTo>
                  <a:pt x="734" y="840"/>
                </a:lnTo>
                <a:lnTo>
                  <a:pt x="737" y="838"/>
                </a:lnTo>
                <a:lnTo>
                  <a:pt x="738" y="836"/>
                </a:lnTo>
                <a:lnTo>
                  <a:pt x="739" y="833"/>
                </a:lnTo>
                <a:lnTo>
                  <a:pt x="739" y="829"/>
                </a:lnTo>
                <a:lnTo>
                  <a:pt x="739" y="827"/>
                </a:lnTo>
                <a:lnTo>
                  <a:pt x="738" y="824"/>
                </a:lnTo>
                <a:lnTo>
                  <a:pt x="737" y="822"/>
                </a:lnTo>
                <a:lnTo>
                  <a:pt x="734" y="819"/>
                </a:lnTo>
                <a:lnTo>
                  <a:pt x="732" y="817"/>
                </a:lnTo>
                <a:lnTo>
                  <a:pt x="730" y="816"/>
                </a:lnTo>
                <a:lnTo>
                  <a:pt x="727" y="815"/>
                </a:lnTo>
                <a:lnTo>
                  <a:pt x="725" y="815"/>
                </a:lnTo>
                <a:lnTo>
                  <a:pt x="598" y="815"/>
                </a:lnTo>
                <a:lnTo>
                  <a:pt x="565" y="724"/>
                </a:lnTo>
                <a:lnTo>
                  <a:pt x="830" y="724"/>
                </a:lnTo>
                <a:lnTo>
                  <a:pt x="837" y="723"/>
                </a:lnTo>
                <a:lnTo>
                  <a:pt x="845" y="722"/>
                </a:lnTo>
                <a:lnTo>
                  <a:pt x="852" y="721"/>
                </a:lnTo>
                <a:lnTo>
                  <a:pt x="859" y="718"/>
                </a:lnTo>
                <a:lnTo>
                  <a:pt x="866" y="715"/>
                </a:lnTo>
                <a:lnTo>
                  <a:pt x="872" y="711"/>
                </a:lnTo>
                <a:lnTo>
                  <a:pt x="878" y="706"/>
                </a:lnTo>
                <a:lnTo>
                  <a:pt x="883" y="702"/>
                </a:lnTo>
                <a:lnTo>
                  <a:pt x="888" y="697"/>
                </a:lnTo>
                <a:lnTo>
                  <a:pt x="893" y="691"/>
                </a:lnTo>
                <a:lnTo>
                  <a:pt x="896" y="684"/>
                </a:lnTo>
                <a:lnTo>
                  <a:pt x="899" y="678"/>
                </a:lnTo>
                <a:lnTo>
                  <a:pt x="901" y="671"/>
                </a:lnTo>
                <a:lnTo>
                  <a:pt x="904" y="663"/>
                </a:lnTo>
                <a:lnTo>
                  <a:pt x="905" y="657"/>
                </a:lnTo>
                <a:lnTo>
                  <a:pt x="905" y="649"/>
                </a:lnTo>
                <a:lnTo>
                  <a:pt x="905" y="75"/>
                </a:lnTo>
                <a:lnTo>
                  <a:pt x="905" y="67"/>
                </a:lnTo>
                <a:lnTo>
                  <a:pt x="904" y="60"/>
                </a:lnTo>
                <a:lnTo>
                  <a:pt x="901" y="53"/>
                </a:lnTo>
                <a:lnTo>
                  <a:pt x="899" y="46"/>
                </a:lnTo>
                <a:lnTo>
                  <a:pt x="896" y="39"/>
                </a:lnTo>
                <a:lnTo>
                  <a:pt x="893" y="33"/>
                </a:lnTo>
                <a:lnTo>
                  <a:pt x="888" y="27"/>
                </a:lnTo>
                <a:lnTo>
                  <a:pt x="883" y="22"/>
                </a:lnTo>
                <a:lnTo>
                  <a:pt x="878" y="17"/>
                </a:lnTo>
                <a:lnTo>
                  <a:pt x="872" y="13"/>
                </a:lnTo>
                <a:lnTo>
                  <a:pt x="866" y="8"/>
                </a:lnTo>
                <a:lnTo>
                  <a:pt x="859" y="5"/>
                </a:lnTo>
                <a:lnTo>
                  <a:pt x="852" y="3"/>
                </a:lnTo>
                <a:lnTo>
                  <a:pt x="845" y="2"/>
                </a:lnTo>
                <a:lnTo>
                  <a:pt x="837" y="0"/>
                </a:lnTo>
                <a:lnTo>
                  <a:pt x="8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7" name="Group 46"/>
          <p:cNvGrpSpPr/>
          <p:nvPr/>
        </p:nvGrpSpPr>
        <p:grpSpPr>
          <a:xfrm>
            <a:off x="7990059" y="2061031"/>
            <a:ext cx="1252882" cy="1114829"/>
            <a:chOff x="3945559" y="1731025"/>
            <a:chExt cx="1252882" cy="1114829"/>
          </a:xfrm>
        </p:grpSpPr>
        <p:sp>
          <p:nvSpPr>
            <p:cNvPr id="72" name="Rectangle 71"/>
            <p:cNvSpPr/>
            <p:nvPr>
              <p:custDataLst>
                <p:tags r:id="rId5"/>
              </p:custDataLst>
            </p:nvPr>
          </p:nvSpPr>
          <p:spPr>
            <a:xfrm>
              <a:off x="3945559" y="2199523"/>
              <a:ext cx="12528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Lorem Ipsum is simply dummy </a:t>
              </a:r>
              <a:r>
                <a:rPr lang="en-US" sz="1200" dirty="0" smtClean="0">
                  <a:solidFill>
                    <a:schemeClr val="bg1"/>
                  </a:solidFill>
                </a:rPr>
                <a:t>text.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6" name="Rectangle 75"/>
            <p:cNvSpPr/>
            <p:nvPr>
              <p:custDataLst>
                <p:tags r:id="rId6"/>
              </p:custDataLst>
            </p:nvPr>
          </p:nvSpPr>
          <p:spPr>
            <a:xfrm>
              <a:off x="3945559" y="1731025"/>
              <a:ext cx="125288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dirty="0" smtClean="0">
                  <a:solidFill>
                    <a:schemeClr val="bg1"/>
                  </a:solidFill>
                </a:rPr>
                <a:t>01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9645375" y="5029085"/>
            <a:ext cx="1252882" cy="1114829"/>
            <a:chOff x="3945559" y="1731025"/>
            <a:chExt cx="1252882" cy="1114829"/>
          </a:xfrm>
        </p:grpSpPr>
        <p:sp>
          <p:nvSpPr>
            <p:cNvPr id="70" name="Rectangle 69"/>
            <p:cNvSpPr/>
            <p:nvPr>
              <p:custDataLst>
                <p:tags r:id="rId3"/>
              </p:custDataLst>
            </p:nvPr>
          </p:nvSpPr>
          <p:spPr>
            <a:xfrm>
              <a:off x="3945559" y="2199523"/>
              <a:ext cx="12528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Lorem Ipsum is simply dummy </a:t>
              </a:r>
              <a:r>
                <a:rPr lang="en-US" sz="1200" dirty="0" smtClean="0">
                  <a:solidFill>
                    <a:schemeClr val="bg1"/>
                  </a:solidFill>
                </a:rPr>
                <a:t>text.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1" name="Rectangle 70"/>
            <p:cNvSpPr/>
            <p:nvPr>
              <p:custDataLst>
                <p:tags r:id="rId4"/>
              </p:custDataLst>
            </p:nvPr>
          </p:nvSpPr>
          <p:spPr>
            <a:xfrm>
              <a:off x="3945559" y="1731025"/>
              <a:ext cx="125288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dirty="0" smtClean="0">
                  <a:solidFill>
                    <a:schemeClr val="bg1"/>
                  </a:solidFill>
                </a:rPr>
                <a:t>02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6385498" y="5029085"/>
            <a:ext cx="1252882" cy="1114829"/>
            <a:chOff x="3945559" y="1731025"/>
            <a:chExt cx="1252882" cy="1114829"/>
          </a:xfrm>
        </p:grpSpPr>
        <p:sp>
          <p:nvSpPr>
            <p:cNvPr id="68" name="Rectangle 67"/>
            <p:cNvSpPr/>
            <p:nvPr>
              <p:custDataLst>
                <p:tags r:id="rId1"/>
              </p:custDataLst>
            </p:nvPr>
          </p:nvSpPr>
          <p:spPr>
            <a:xfrm>
              <a:off x="3945559" y="2199523"/>
              <a:ext cx="12528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Lorem Ipsum is simply dummy </a:t>
              </a:r>
              <a:r>
                <a:rPr lang="en-US" sz="1200" dirty="0" smtClean="0">
                  <a:solidFill>
                    <a:schemeClr val="bg1"/>
                  </a:solidFill>
                </a:rPr>
                <a:t>text.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9" name="Rectangle 68"/>
            <p:cNvSpPr/>
            <p:nvPr>
              <p:custDataLst>
                <p:tags r:id="rId2"/>
              </p:custDataLst>
            </p:nvPr>
          </p:nvSpPr>
          <p:spPr>
            <a:xfrm>
              <a:off x="3945559" y="1731025"/>
              <a:ext cx="125288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dirty="0" smtClean="0">
                  <a:solidFill>
                    <a:schemeClr val="bg1"/>
                  </a:solidFill>
                </a:rPr>
                <a:t>03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8292425" y="4160226"/>
            <a:ext cx="648150" cy="597454"/>
            <a:chOff x="4313201" y="1920875"/>
            <a:chExt cx="284163" cy="261938"/>
          </a:xfrm>
          <a:solidFill>
            <a:schemeClr val="tx2">
              <a:lumMod val="50000"/>
            </a:schemeClr>
          </a:solidFill>
        </p:grpSpPr>
        <p:sp>
          <p:nvSpPr>
            <p:cNvPr id="6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solidFill>
              <a:srgbClr val="0C40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rgbClr val="0C40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1371579" y="2322716"/>
            <a:ext cx="4303619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Lorem Ipsum has been the industry's standard dummy text ever since the 1500s, when an unknown printer took a galley of type and scrambled it to make a type specimen </a:t>
            </a:r>
            <a:r>
              <a:rPr lang="en-US" sz="1200" dirty="0" smtClean="0"/>
              <a:t>book.</a:t>
            </a:r>
            <a:endParaRPr lang="en-US" sz="1200" dirty="0"/>
          </a:p>
        </p:txBody>
      </p:sp>
      <p:sp>
        <p:nvSpPr>
          <p:cNvPr id="103" name="TextBox 102"/>
          <p:cNvSpPr txBox="1"/>
          <p:nvPr/>
        </p:nvSpPr>
        <p:spPr>
          <a:xfrm>
            <a:off x="1371579" y="3409884"/>
            <a:ext cx="4303619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Lorem Ipsum has been the industry's standard dummy text ever since the 1500s, when an unknown printer took a galley of type and scrambled it to make a type specimen </a:t>
            </a:r>
            <a:r>
              <a:rPr lang="en-US" sz="1200" dirty="0" smtClean="0"/>
              <a:t>book.</a:t>
            </a:r>
            <a:endParaRPr lang="en-US" sz="1200" dirty="0"/>
          </a:p>
        </p:txBody>
      </p:sp>
      <p:sp>
        <p:nvSpPr>
          <p:cNvPr id="104" name="TextBox 103"/>
          <p:cNvSpPr txBox="1"/>
          <p:nvPr/>
        </p:nvSpPr>
        <p:spPr>
          <a:xfrm>
            <a:off x="1371579" y="4497052"/>
            <a:ext cx="4303619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Lorem Ipsum has been the industry's standard dummy text ever since the 1500s, when an unknown printer took a galley of type and scrambled it to make a type specimen </a:t>
            </a:r>
            <a:r>
              <a:rPr lang="en-US" sz="1200" dirty="0" smtClean="0"/>
              <a:t>book.</a:t>
            </a:r>
            <a:endParaRPr lang="en-US" sz="1200" dirty="0"/>
          </a:p>
        </p:txBody>
      </p:sp>
      <p:cxnSp>
        <p:nvCxnSpPr>
          <p:cNvPr id="109" name="Straight Connector 108"/>
          <p:cNvCxnSpPr/>
          <p:nvPr/>
        </p:nvCxnSpPr>
        <p:spPr>
          <a:xfrm flipH="1">
            <a:off x="1487834" y="3235632"/>
            <a:ext cx="4071108" cy="0"/>
          </a:xfrm>
          <a:prstGeom prst="line">
            <a:avLst/>
          </a:prstGeom>
          <a:ln w="6350">
            <a:solidFill>
              <a:srgbClr val="AAAA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H="1">
            <a:off x="1487834" y="4322800"/>
            <a:ext cx="4071108" cy="0"/>
          </a:xfrm>
          <a:prstGeom prst="line">
            <a:avLst/>
          </a:prstGeom>
          <a:ln w="6350">
            <a:solidFill>
              <a:srgbClr val="AAAA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120" name="Parallelogram 11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Parallelogram 12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Parallelogram 12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124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459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roup 550"/>
          <p:cNvGrpSpPr/>
          <p:nvPr/>
        </p:nvGrpSpPr>
        <p:grpSpPr>
          <a:xfrm>
            <a:off x="2585135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52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" name="Group 553"/>
          <p:cNvGrpSpPr/>
          <p:nvPr/>
        </p:nvGrpSpPr>
        <p:grpSpPr>
          <a:xfrm>
            <a:off x="2761577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55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6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7" name="Group 556"/>
          <p:cNvGrpSpPr/>
          <p:nvPr/>
        </p:nvGrpSpPr>
        <p:grpSpPr>
          <a:xfrm>
            <a:off x="2938019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58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0" name="Group 559"/>
          <p:cNvGrpSpPr/>
          <p:nvPr/>
        </p:nvGrpSpPr>
        <p:grpSpPr>
          <a:xfrm>
            <a:off x="3114461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61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2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3" name="Group 562"/>
          <p:cNvGrpSpPr/>
          <p:nvPr/>
        </p:nvGrpSpPr>
        <p:grpSpPr>
          <a:xfrm>
            <a:off x="3290903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64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5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6" name="Group 565"/>
          <p:cNvGrpSpPr/>
          <p:nvPr/>
        </p:nvGrpSpPr>
        <p:grpSpPr>
          <a:xfrm>
            <a:off x="3467345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67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9" name="Group 568"/>
          <p:cNvGrpSpPr/>
          <p:nvPr/>
        </p:nvGrpSpPr>
        <p:grpSpPr>
          <a:xfrm>
            <a:off x="3643787" y="6057159"/>
            <a:ext cx="142875" cy="285750"/>
            <a:chOff x="7085013" y="5922963"/>
            <a:chExt cx="142875" cy="285750"/>
          </a:xfrm>
          <a:solidFill>
            <a:srgbClr val="016AA3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70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2" name="Group 571"/>
          <p:cNvGrpSpPr/>
          <p:nvPr/>
        </p:nvGrpSpPr>
        <p:grpSpPr>
          <a:xfrm>
            <a:off x="3820229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73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4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5" name="Group 574"/>
          <p:cNvGrpSpPr/>
          <p:nvPr/>
        </p:nvGrpSpPr>
        <p:grpSpPr>
          <a:xfrm>
            <a:off x="3996671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76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7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8" name="Group 577"/>
          <p:cNvGrpSpPr/>
          <p:nvPr/>
        </p:nvGrpSpPr>
        <p:grpSpPr>
          <a:xfrm>
            <a:off x="4173114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79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WORLD MAP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itle 1"/>
          <p:cNvSpPr txBox="1">
            <a:spLocks/>
          </p:cNvSpPr>
          <p:nvPr/>
        </p:nvSpPr>
        <p:spPr>
          <a:xfrm>
            <a:off x="5623370" y="6462675"/>
            <a:ext cx="945261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400" dirty="0" smtClean="0">
                <a:ea typeface="Segoe UI" panose="020B0502040204020203" pitchFamily="34" charset="0"/>
                <a:cs typeface="Segoe UI" panose="020B0502040204020203" pitchFamily="34" charset="0"/>
              </a:rPr>
              <a:t>03</a:t>
            </a:r>
            <a:endParaRPr lang="en-US" sz="14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8" name="TextBox 447"/>
          <p:cNvSpPr txBox="1"/>
          <p:nvPr/>
        </p:nvSpPr>
        <p:spPr>
          <a:xfrm>
            <a:off x="2741609" y="4638822"/>
            <a:ext cx="14179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16AA3"/>
                </a:solidFill>
              </a:rPr>
              <a:t>TARGET AUDIENCE</a:t>
            </a:r>
          </a:p>
          <a:p>
            <a:pPr algn="ctr"/>
            <a:r>
              <a:rPr lang="en-US" sz="1200" b="1" dirty="0" smtClean="0">
                <a:solidFill>
                  <a:srgbClr val="016AA3"/>
                </a:solidFill>
              </a:rPr>
              <a:t>AREA 1</a:t>
            </a:r>
            <a:endParaRPr lang="en-US" sz="1200" b="1" dirty="0">
              <a:solidFill>
                <a:srgbClr val="016AA3"/>
              </a:solidFill>
            </a:endParaRPr>
          </a:p>
        </p:txBody>
      </p:sp>
      <p:sp>
        <p:nvSpPr>
          <p:cNvPr id="449" name="TextBox 448"/>
          <p:cNvSpPr txBox="1"/>
          <p:nvPr/>
        </p:nvSpPr>
        <p:spPr>
          <a:xfrm>
            <a:off x="2498347" y="5099561"/>
            <a:ext cx="1904430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/>
              <a:t>Lorem </a:t>
            </a:r>
            <a:r>
              <a:rPr lang="en-US" sz="1000" dirty="0" err="1" smtClean="0"/>
              <a:t>Ipsum</a:t>
            </a:r>
            <a:r>
              <a:rPr lang="en-US" sz="1000" dirty="0" smtClean="0"/>
              <a:t> is simply dummy text of the printing and typesetting industry. Lorem </a:t>
            </a:r>
            <a:r>
              <a:rPr lang="en-US" sz="1000" dirty="0" err="1" smtClean="0"/>
              <a:t>Ipsum</a:t>
            </a:r>
            <a:r>
              <a:rPr lang="en-US" sz="1000" dirty="0" smtClean="0"/>
              <a:t> has been the industry's standard dummy text ever since the 1500s</a:t>
            </a:r>
            <a:endParaRPr lang="en-US" sz="1000" dirty="0"/>
          </a:p>
        </p:txBody>
      </p:sp>
      <p:cxnSp>
        <p:nvCxnSpPr>
          <p:cNvPr id="461" name="Straight Connector 460"/>
          <p:cNvCxnSpPr/>
          <p:nvPr/>
        </p:nvCxnSpPr>
        <p:spPr>
          <a:xfrm flipH="1">
            <a:off x="2457344" y="5976624"/>
            <a:ext cx="1945432" cy="0"/>
          </a:xfrm>
          <a:prstGeom prst="line">
            <a:avLst/>
          </a:prstGeom>
          <a:ln w="6350">
            <a:solidFill>
              <a:srgbClr val="AAAA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4" name="TextBox 403"/>
          <p:cNvSpPr txBox="1"/>
          <p:nvPr/>
        </p:nvSpPr>
        <p:spPr>
          <a:xfrm>
            <a:off x="5485202" y="4638822"/>
            <a:ext cx="14179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46B688"/>
                </a:solidFill>
              </a:rPr>
              <a:t>TARGET AUDIENCE</a:t>
            </a:r>
          </a:p>
          <a:p>
            <a:pPr algn="ctr"/>
            <a:r>
              <a:rPr lang="en-US" sz="1200" b="1" dirty="0" smtClean="0">
                <a:solidFill>
                  <a:srgbClr val="46B688"/>
                </a:solidFill>
              </a:rPr>
              <a:t>AREA 2</a:t>
            </a:r>
            <a:endParaRPr lang="en-US" sz="1200" b="1" dirty="0">
              <a:solidFill>
                <a:srgbClr val="46B688"/>
              </a:solidFill>
            </a:endParaRPr>
          </a:p>
        </p:txBody>
      </p:sp>
      <p:sp>
        <p:nvSpPr>
          <p:cNvPr id="405" name="TextBox 404"/>
          <p:cNvSpPr txBox="1"/>
          <p:nvPr/>
        </p:nvSpPr>
        <p:spPr>
          <a:xfrm>
            <a:off x="5241941" y="5099561"/>
            <a:ext cx="1904430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/>
              <a:t>Lorem </a:t>
            </a:r>
            <a:r>
              <a:rPr lang="en-US" sz="1000" dirty="0" err="1" smtClean="0"/>
              <a:t>Ipsum</a:t>
            </a:r>
            <a:r>
              <a:rPr lang="en-US" sz="1000" dirty="0" smtClean="0"/>
              <a:t> is simply dummy text of the printing and typesetting industry. Lorem </a:t>
            </a:r>
            <a:r>
              <a:rPr lang="en-US" sz="1000" dirty="0" err="1" smtClean="0"/>
              <a:t>Ipsum</a:t>
            </a:r>
            <a:r>
              <a:rPr lang="en-US" sz="1000" dirty="0" smtClean="0"/>
              <a:t> has been the industry's standard dummy text ever since the 1500s</a:t>
            </a:r>
            <a:endParaRPr lang="en-US" sz="1000" dirty="0"/>
          </a:p>
        </p:txBody>
      </p:sp>
      <p:cxnSp>
        <p:nvCxnSpPr>
          <p:cNvPr id="417" name="Straight Connector 416"/>
          <p:cNvCxnSpPr/>
          <p:nvPr/>
        </p:nvCxnSpPr>
        <p:spPr>
          <a:xfrm flipH="1">
            <a:off x="5200938" y="5976624"/>
            <a:ext cx="1945432" cy="0"/>
          </a:xfrm>
          <a:prstGeom prst="line">
            <a:avLst/>
          </a:prstGeom>
          <a:ln w="6350">
            <a:solidFill>
              <a:srgbClr val="AAAA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0" name="TextBox 359"/>
          <p:cNvSpPr txBox="1"/>
          <p:nvPr/>
        </p:nvSpPr>
        <p:spPr>
          <a:xfrm>
            <a:off x="8228797" y="4638822"/>
            <a:ext cx="141790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EA34F"/>
                </a:solidFill>
              </a:rPr>
              <a:t>TARGET AUDIENCE</a:t>
            </a:r>
          </a:p>
          <a:p>
            <a:pPr algn="ctr"/>
            <a:r>
              <a:rPr lang="en-US" sz="1200" b="1" dirty="0" smtClean="0">
                <a:solidFill>
                  <a:srgbClr val="FEA34F"/>
                </a:solidFill>
              </a:rPr>
              <a:t>AREA 3</a:t>
            </a:r>
            <a:endParaRPr lang="en-US" sz="1200" b="1" dirty="0">
              <a:solidFill>
                <a:srgbClr val="FEA34F"/>
              </a:solidFill>
            </a:endParaRPr>
          </a:p>
        </p:txBody>
      </p:sp>
      <p:sp>
        <p:nvSpPr>
          <p:cNvPr id="361" name="TextBox 360"/>
          <p:cNvSpPr txBox="1"/>
          <p:nvPr/>
        </p:nvSpPr>
        <p:spPr>
          <a:xfrm>
            <a:off x="7985536" y="5099561"/>
            <a:ext cx="1904430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/>
              <a:t>Lorem </a:t>
            </a:r>
            <a:r>
              <a:rPr lang="en-US" sz="1000" dirty="0" err="1" smtClean="0"/>
              <a:t>Ipsum</a:t>
            </a:r>
            <a:r>
              <a:rPr lang="en-US" sz="1000" dirty="0" smtClean="0"/>
              <a:t> is simply dummy text of the printing and typesetting industry. Lorem </a:t>
            </a:r>
            <a:r>
              <a:rPr lang="en-US" sz="1000" dirty="0" err="1" smtClean="0"/>
              <a:t>Ipsum</a:t>
            </a:r>
            <a:r>
              <a:rPr lang="en-US" sz="1000" dirty="0" smtClean="0"/>
              <a:t> has been the industry's standard dummy text ever since the 1500s</a:t>
            </a:r>
            <a:endParaRPr lang="en-US" sz="1000" dirty="0"/>
          </a:p>
        </p:txBody>
      </p:sp>
      <p:cxnSp>
        <p:nvCxnSpPr>
          <p:cNvPr id="373" name="Straight Connector 372"/>
          <p:cNvCxnSpPr/>
          <p:nvPr/>
        </p:nvCxnSpPr>
        <p:spPr>
          <a:xfrm flipH="1">
            <a:off x="7944533" y="5976624"/>
            <a:ext cx="1945432" cy="0"/>
          </a:xfrm>
          <a:prstGeom prst="line">
            <a:avLst/>
          </a:prstGeom>
          <a:ln w="6350">
            <a:solidFill>
              <a:srgbClr val="AAAA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/>
          <p:cNvGrpSpPr/>
          <p:nvPr/>
        </p:nvGrpSpPr>
        <p:grpSpPr>
          <a:xfrm>
            <a:off x="7110288" y="1938546"/>
            <a:ext cx="3734769" cy="2063510"/>
            <a:chOff x="4977431" y="388818"/>
            <a:chExt cx="3734769" cy="2063510"/>
          </a:xfrm>
        </p:grpSpPr>
        <p:grpSp>
          <p:nvGrpSpPr>
            <p:cNvPr id="149" name="Group 148"/>
            <p:cNvGrpSpPr/>
            <p:nvPr/>
          </p:nvGrpSpPr>
          <p:grpSpPr>
            <a:xfrm>
              <a:off x="4977431" y="388818"/>
              <a:ext cx="3734769" cy="601302"/>
              <a:chOff x="4962684" y="388818"/>
              <a:chExt cx="3734769" cy="601302"/>
            </a:xfrm>
          </p:grpSpPr>
          <p:grpSp>
            <p:nvGrpSpPr>
              <p:cNvPr id="170" name="Group 169"/>
              <p:cNvGrpSpPr/>
              <p:nvPr/>
            </p:nvGrpSpPr>
            <p:grpSpPr>
              <a:xfrm>
                <a:off x="5664182" y="451790"/>
                <a:ext cx="3033271" cy="475358"/>
                <a:chOff x="5664182" y="427449"/>
                <a:chExt cx="3033271" cy="475358"/>
              </a:xfrm>
            </p:grpSpPr>
            <p:sp>
              <p:nvSpPr>
                <p:cNvPr id="176" name="TextBox 175"/>
                <p:cNvSpPr txBox="1"/>
                <p:nvPr/>
              </p:nvSpPr>
              <p:spPr>
                <a:xfrm>
                  <a:off x="5664182" y="595030"/>
                  <a:ext cx="3033271" cy="30777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dirty="0" smtClean="0"/>
                    <a:t>Lorem </a:t>
                  </a:r>
                  <a:r>
                    <a:rPr lang="en-US" sz="1000" dirty="0" err="1"/>
                    <a:t>Ipsum</a:t>
                  </a:r>
                  <a:r>
                    <a:rPr lang="en-US" sz="1000" dirty="0"/>
                    <a:t> is simply dummy text of the printing and typesetting industry. </a:t>
                  </a:r>
                </a:p>
              </p:txBody>
            </p:sp>
            <p:sp>
              <p:nvSpPr>
                <p:cNvPr id="177" name="TextBox 176"/>
                <p:cNvSpPr txBox="1"/>
                <p:nvPr/>
              </p:nvSpPr>
              <p:spPr>
                <a:xfrm>
                  <a:off x="5664182" y="427449"/>
                  <a:ext cx="3033271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b="1" dirty="0" smtClean="0">
                      <a:solidFill>
                        <a:srgbClr val="016AA3"/>
                      </a:solidFill>
                    </a:rPr>
                    <a:t>LOREM IPSUM</a:t>
                  </a:r>
                  <a:endParaRPr lang="en-US" sz="1000" b="1" dirty="0">
                    <a:solidFill>
                      <a:srgbClr val="016AA3"/>
                    </a:solidFill>
                  </a:endParaRPr>
                </a:p>
              </p:txBody>
            </p:sp>
          </p:grpSp>
          <p:grpSp>
            <p:nvGrpSpPr>
              <p:cNvPr id="171" name="Group 170"/>
              <p:cNvGrpSpPr/>
              <p:nvPr/>
            </p:nvGrpSpPr>
            <p:grpSpPr>
              <a:xfrm>
                <a:off x="4962684" y="388818"/>
                <a:ext cx="601302" cy="601302"/>
                <a:chOff x="4962684" y="388818"/>
                <a:chExt cx="601302" cy="601302"/>
              </a:xfrm>
            </p:grpSpPr>
            <p:grpSp>
              <p:nvGrpSpPr>
                <p:cNvPr id="172" name="Group 171"/>
                <p:cNvGrpSpPr/>
                <p:nvPr/>
              </p:nvGrpSpPr>
              <p:grpSpPr>
                <a:xfrm>
                  <a:off x="4962684" y="388818"/>
                  <a:ext cx="601302" cy="601302"/>
                  <a:chOff x="4925804" y="576032"/>
                  <a:chExt cx="601302" cy="601302"/>
                </a:xfrm>
              </p:grpSpPr>
              <p:sp>
                <p:nvSpPr>
                  <p:cNvPr id="174" name="Oval 173"/>
                  <p:cNvSpPr/>
                  <p:nvPr/>
                </p:nvSpPr>
                <p:spPr>
                  <a:xfrm>
                    <a:off x="4925804" y="576032"/>
                    <a:ext cx="601302" cy="601302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75" name="Oval 174"/>
                  <p:cNvSpPr/>
                  <p:nvPr/>
                </p:nvSpPr>
                <p:spPr>
                  <a:xfrm>
                    <a:off x="4977983" y="628211"/>
                    <a:ext cx="496943" cy="496943"/>
                  </a:xfrm>
                  <a:prstGeom prst="ellipse">
                    <a:avLst/>
                  </a:prstGeom>
                  <a:solidFill>
                    <a:srgbClr val="016AA3"/>
                  </a:solidFill>
                  <a:ln>
                    <a:noFill/>
                  </a:ln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73" name="TextBox 172"/>
                <p:cNvSpPr txBox="1"/>
                <p:nvPr/>
              </p:nvSpPr>
              <p:spPr>
                <a:xfrm>
                  <a:off x="5074096" y="566359"/>
                  <a:ext cx="378479" cy="246221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600" dirty="0" smtClean="0">
                      <a:solidFill>
                        <a:schemeClr val="bg1"/>
                      </a:solidFill>
                    </a:rPr>
                    <a:t>57%</a:t>
                  </a:r>
                  <a:endParaRPr lang="en-US" sz="1600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50" name="Group 149"/>
            <p:cNvGrpSpPr/>
            <p:nvPr/>
          </p:nvGrpSpPr>
          <p:grpSpPr>
            <a:xfrm>
              <a:off x="4977431" y="1119922"/>
              <a:ext cx="3734769" cy="601302"/>
              <a:chOff x="4962684" y="388818"/>
              <a:chExt cx="3734769" cy="601302"/>
            </a:xfrm>
          </p:grpSpPr>
          <p:grpSp>
            <p:nvGrpSpPr>
              <p:cNvPr id="162" name="Group 161"/>
              <p:cNvGrpSpPr/>
              <p:nvPr/>
            </p:nvGrpSpPr>
            <p:grpSpPr>
              <a:xfrm>
                <a:off x="5664182" y="451790"/>
                <a:ext cx="3033271" cy="475358"/>
                <a:chOff x="5664182" y="427449"/>
                <a:chExt cx="3033271" cy="475358"/>
              </a:xfrm>
            </p:grpSpPr>
            <p:sp>
              <p:nvSpPr>
                <p:cNvPr id="168" name="TextBox 167"/>
                <p:cNvSpPr txBox="1"/>
                <p:nvPr/>
              </p:nvSpPr>
              <p:spPr>
                <a:xfrm>
                  <a:off x="5664182" y="595030"/>
                  <a:ext cx="3033271" cy="30777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dirty="0" smtClean="0"/>
                    <a:t>Lorem </a:t>
                  </a:r>
                  <a:r>
                    <a:rPr lang="en-US" sz="1000" dirty="0" err="1"/>
                    <a:t>Ipsum</a:t>
                  </a:r>
                  <a:r>
                    <a:rPr lang="en-US" sz="1000" dirty="0"/>
                    <a:t> is simply dummy text of the printing and typesetting industry. </a:t>
                  </a:r>
                </a:p>
              </p:txBody>
            </p:sp>
            <p:sp>
              <p:nvSpPr>
                <p:cNvPr id="169" name="TextBox 168"/>
                <p:cNvSpPr txBox="1"/>
                <p:nvPr/>
              </p:nvSpPr>
              <p:spPr>
                <a:xfrm>
                  <a:off x="5664182" y="427449"/>
                  <a:ext cx="3033271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b="1" dirty="0" smtClean="0">
                      <a:solidFill>
                        <a:srgbClr val="46B688"/>
                      </a:solidFill>
                    </a:rPr>
                    <a:t>LOREM IPSUM</a:t>
                  </a:r>
                  <a:endParaRPr lang="en-US" sz="1000" b="1" dirty="0">
                    <a:solidFill>
                      <a:srgbClr val="46B688"/>
                    </a:solidFill>
                  </a:endParaRPr>
                </a:p>
              </p:txBody>
            </p:sp>
          </p:grpSp>
          <p:grpSp>
            <p:nvGrpSpPr>
              <p:cNvPr id="163" name="Group 162"/>
              <p:cNvGrpSpPr/>
              <p:nvPr/>
            </p:nvGrpSpPr>
            <p:grpSpPr>
              <a:xfrm>
                <a:off x="4962684" y="388818"/>
                <a:ext cx="601302" cy="601302"/>
                <a:chOff x="4962684" y="388818"/>
                <a:chExt cx="601302" cy="601302"/>
              </a:xfrm>
            </p:grpSpPr>
            <p:grpSp>
              <p:nvGrpSpPr>
                <p:cNvPr id="164" name="Group 163"/>
                <p:cNvGrpSpPr/>
                <p:nvPr/>
              </p:nvGrpSpPr>
              <p:grpSpPr>
                <a:xfrm>
                  <a:off x="4962684" y="388818"/>
                  <a:ext cx="601302" cy="601302"/>
                  <a:chOff x="4925804" y="576032"/>
                  <a:chExt cx="601302" cy="601302"/>
                </a:xfrm>
              </p:grpSpPr>
              <p:sp>
                <p:nvSpPr>
                  <p:cNvPr id="166" name="Oval 165"/>
                  <p:cNvSpPr/>
                  <p:nvPr/>
                </p:nvSpPr>
                <p:spPr>
                  <a:xfrm>
                    <a:off x="4925804" y="576032"/>
                    <a:ext cx="601302" cy="601302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67" name="Oval 166"/>
                  <p:cNvSpPr/>
                  <p:nvPr/>
                </p:nvSpPr>
                <p:spPr>
                  <a:xfrm>
                    <a:off x="4977983" y="628211"/>
                    <a:ext cx="496943" cy="496943"/>
                  </a:xfrm>
                  <a:prstGeom prst="ellipse">
                    <a:avLst/>
                  </a:prstGeom>
                  <a:solidFill>
                    <a:srgbClr val="46B688"/>
                  </a:solidFill>
                  <a:ln>
                    <a:noFill/>
                  </a:ln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65" name="TextBox 164"/>
                <p:cNvSpPr txBox="1"/>
                <p:nvPr/>
              </p:nvSpPr>
              <p:spPr>
                <a:xfrm>
                  <a:off x="5074096" y="566359"/>
                  <a:ext cx="378479" cy="246221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600" dirty="0" smtClean="0">
                      <a:solidFill>
                        <a:schemeClr val="bg1"/>
                      </a:solidFill>
                    </a:rPr>
                    <a:t>25%</a:t>
                  </a:r>
                  <a:endParaRPr lang="en-US" sz="1600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51" name="Group 150"/>
            <p:cNvGrpSpPr/>
            <p:nvPr/>
          </p:nvGrpSpPr>
          <p:grpSpPr>
            <a:xfrm>
              <a:off x="4977431" y="1851026"/>
              <a:ext cx="3734769" cy="601302"/>
              <a:chOff x="4962684" y="388818"/>
              <a:chExt cx="3734769" cy="601302"/>
            </a:xfrm>
          </p:grpSpPr>
          <p:grpSp>
            <p:nvGrpSpPr>
              <p:cNvPr id="154" name="Group 153"/>
              <p:cNvGrpSpPr/>
              <p:nvPr/>
            </p:nvGrpSpPr>
            <p:grpSpPr>
              <a:xfrm>
                <a:off x="5664182" y="451790"/>
                <a:ext cx="3033271" cy="475358"/>
                <a:chOff x="5664182" y="427449"/>
                <a:chExt cx="3033271" cy="475358"/>
              </a:xfrm>
            </p:grpSpPr>
            <p:sp>
              <p:nvSpPr>
                <p:cNvPr id="160" name="TextBox 159"/>
                <p:cNvSpPr txBox="1"/>
                <p:nvPr/>
              </p:nvSpPr>
              <p:spPr>
                <a:xfrm>
                  <a:off x="5664182" y="595030"/>
                  <a:ext cx="3033271" cy="30777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dirty="0" smtClean="0"/>
                    <a:t>Lorem </a:t>
                  </a:r>
                  <a:r>
                    <a:rPr lang="en-US" sz="1000" dirty="0" err="1"/>
                    <a:t>Ipsum</a:t>
                  </a:r>
                  <a:r>
                    <a:rPr lang="en-US" sz="1000" dirty="0"/>
                    <a:t> is simply dummy text of the printing and typesetting industry. </a:t>
                  </a:r>
                </a:p>
              </p:txBody>
            </p:sp>
            <p:sp>
              <p:nvSpPr>
                <p:cNvPr id="161" name="TextBox 160"/>
                <p:cNvSpPr txBox="1"/>
                <p:nvPr/>
              </p:nvSpPr>
              <p:spPr>
                <a:xfrm>
                  <a:off x="5664182" y="427449"/>
                  <a:ext cx="3033271" cy="153888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000" b="1" dirty="0" smtClean="0">
                      <a:solidFill>
                        <a:srgbClr val="FEA34F"/>
                      </a:solidFill>
                    </a:rPr>
                    <a:t>LOREM IPSUM</a:t>
                  </a:r>
                  <a:endParaRPr lang="en-US" sz="1000" b="1" dirty="0">
                    <a:solidFill>
                      <a:srgbClr val="FEA34F"/>
                    </a:solidFill>
                  </a:endParaRPr>
                </a:p>
              </p:txBody>
            </p:sp>
          </p:grpSp>
          <p:grpSp>
            <p:nvGrpSpPr>
              <p:cNvPr id="155" name="Group 154"/>
              <p:cNvGrpSpPr/>
              <p:nvPr/>
            </p:nvGrpSpPr>
            <p:grpSpPr>
              <a:xfrm>
                <a:off x="4962684" y="388818"/>
                <a:ext cx="601302" cy="601302"/>
                <a:chOff x="4962684" y="388818"/>
                <a:chExt cx="601302" cy="601302"/>
              </a:xfrm>
            </p:grpSpPr>
            <p:grpSp>
              <p:nvGrpSpPr>
                <p:cNvPr id="156" name="Group 155"/>
                <p:cNvGrpSpPr/>
                <p:nvPr/>
              </p:nvGrpSpPr>
              <p:grpSpPr>
                <a:xfrm>
                  <a:off x="4962684" y="388818"/>
                  <a:ext cx="601302" cy="601302"/>
                  <a:chOff x="4925804" y="576032"/>
                  <a:chExt cx="601302" cy="601302"/>
                </a:xfrm>
              </p:grpSpPr>
              <p:sp>
                <p:nvSpPr>
                  <p:cNvPr id="158" name="Oval 157"/>
                  <p:cNvSpPr/>
                  <p:nvPr/>
                </p:nvSpPr>
                <p:spPr>
                  <a:xfrm>
                    <a:off x="4925804" y="576032"/>
                    <a:ext cx="601302" cy="601302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59" name="Oval 158"/>
                  <p:cNvSpPr/>
                  <p:nvPr/>
                </p:nvSpPr>
                <p:spPr>
                  <a:xfrm>
                    <a:off x="4977983" y="628211"/>
                    <a:ext cx="496943" cy="496943"/>
                  </a:xfrm>
                  <a:prstGeom prst="ellipse">
                    <a:avLst/>
                  </a:prstGeom>
                  <a:solidFill>
                    <a:srgbClr val="FEA34F"/>
                  </a:solidFill>
                  <a:ln>
                    <a:noFill/>
                  </a:ln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57" name="TextBox 156"/>
                <p:cNvSpPr txBox="1"/>
                <p:nvPr/>
              </p:nvSpPr>
              <p:spPr>
                <a:xfrm>
                  <a:off x="5074096" y="566359"/>
                  <a:ext cx="378479" cy="246221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600" dirty="0" smtClean="0">
                      <a:solidFill>
                        <a:schemeClr val="bg1"/>
                      </a:solidFill>
                    </a:rPr>
                    <a:t>14%</a:t>
                  </a:r>
                  <a:endParaRPr lang="en-US" sz="1600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152" name="Straight Connector 151"/>
            <p:cNvCxnSpPr/>
            <p:nvPr/>
          </p:nvCxnSpPr>
          <p:spPr>
            <a:xfrm flipH="1">
              <a:off x="5014863" y="1055021"/>
              <a:ext cx="3697337" cy="0"/>
            </a:xfrm>
            <a:prstGeom prst="line">
              <a:avLst/>
            </a:prstGeom>
            <a:ln w="6350">
              <a:solidFill>
                <a:srgbClr val="AAAAAA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5014863" y="1786125"/>
              <a:ext cx="3697337" cy="0"/>
            </a:xfrm>
            <a:prstGeom prst="line">
              <a:avLst/>
            </a:prstGeom>
            <a:ln w="6350">
              <a:solidFill>
                <a:srgbClr val="AAAAAA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2" name="Group 491"/>
          <p:cNvGrpSpPr/>
          <p:nvPr/>
        </p:nvGrpSpPr>
        <p:grpSpPr>
          <a:xfrm>
            <a:off x="1346943" y="1716581"/>
            <a:ext cx="5283165" cy="2757905"/>
            <a:chOff x="1504597" y="2399471"/>
            <a:chExt cx="6134807" cy="3202478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493" name="Freeform 5962"/>
            <p:cNvSpPr>
              <a:spLocks noEditPoints="1"/>
            </p:cNvSpPr>
            <p:nvPr/>
          </p:nvSpPr>
          <p:spPr bwMode="auto">
            <a:xfrm>
              <a:off x="3063972" y="4165973"/>
              <a:ext cx="836057" cy="1435976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94" name="Freeform 6151"/>
            <p:cNvSpPr>
              <a:spLocks noEditPoints="1"/>
            </p:cNvSpPr>
            <p:nvPr/>
          </p:nvSpPr>
          <p:spPr bwMode="auto">
            <a:xfrm>
              <a:off x="6266439" y="4430998"/>
              <a:ext cx="1201064" cy="96840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95" name="Freeform 6153"/>
            <p:cNvSpPr>
              <a:spLocks noEditPoints="1"/>
            </p:cNvSpPr>
            <p:nvPr/>
          </p:nvSpPr>
          <p:spPr bwMode="auto">
            <a:xfrm>
              <a:off x="3915668" y="3671184"/>
              <a:ext cx="1239013" cy="1462182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solidFill>
              <a:srgbClr val="FEA34F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96" name="Freeform 6155"/>
            <p:cNvSpPr>
              <a:spLocks noEditPoints="1"/>
            </p:cNvSpPr>
            <p:nvPr/>
          </p:nvSpPr>
          <p:spPr bwMode="auto">
            <a:xfrm>
              <a:off x="4040675" y="2527450"/>
              <a:ext cx="1264689" cy="1655655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solidFill>
              <a:srgbClr val="AAAAAA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97" name="Freeform 6156"/>
            <p:cNvSpPr>
              <a:spLocks noEditPoints="1"/>
            </p:cNvSpPr>
            <p:nvPr/>
          </p:nvSpPr>
          <p:spPr bwMode="auto">
            <a:xfrm>
              <a:off x="5024074" y="2480087"/>
              <a:ext cx="2615330" cy="2204852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solidFill>
              <a:srgbClr val="016AA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98" name="Freeform 6004"/>
            <p:cNvSpPr>
              <a:spLocks/>
            </p:cNvSpPr>
            <p:nvPr/>
          </p:nvSpPr>
          <p:spPr bwMode="auto">
            <a:xfrm>
              <a:off x="3948495" y="4209922"/>
              <a:ext cx="3572" cy="403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499" name="Gruppe 224"/>
            <p:cNvGrpSpPr/>
            <p:nvPr/>
          </p:nvGrpSpPr>
          <p:grpSpPr bwMode="auto">
            <a:xfrm>
              <a:off x="1504597" y="2399471"/>
              <a:ext cx="2802847" cy="1873326"/>
              <a:chOff x="93979" y="699453"/>
              <a:chExt cx="3986530" cy="2951480"/>
            </a:xfrm>
            <a:grpFill/>
          </p:grpSpPr>
          <p:sp>
            <p:nvSpPr>
              <p:cNvPr id="507" name="Freeform 6016"/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08" name="Freeform 6017"/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09" name="Freeform 6018"/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0" name="Freeform 6019"/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1" name="Freeform 6020"/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2" name="Freeform 6021"/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3" name="Freeform 6022"/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4" name="Freeform 6023"/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5" name="Freeform 6024"/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6" name="Freeform 6025"/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7" name="Freeform 6026"/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8" name="Freeform 6027"/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9" name="Freeform 6033"/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0" name="Freeform 6037"/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1" name="Freeform 6054"/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2" name="Freeform 6074"/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3" name="Freeform 6084"/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4" name="Freeform 6086"/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solidFill>
                <a:srgbClr val="46B688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5" name="Freeform 6087"/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6" name="Freeform 6088"/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7" name="Freeform 6089"/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8" name="Freeform 6091"/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9" name="Freeform 6092"/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0" name="Freeform 6094"/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1" name="Freeform 6098"/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2" name="Freeform 6099"/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3" name="Freeform 6100"/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4" name="Freeform 6101"/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5" name="Freeform 6102"/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6" name="Freeform 6103"/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7" name="Freeform 6104"/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8" name="Freeform 6105"/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9" name="Freeform 6106"/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0" name="Freeform 6107"/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1" name="Freeform 6108"/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2" name="Freeform 6109"/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3" name="Freeform 6110"/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4" name="Freeform 6111"/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5" name="Freeform 6112"/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6" name="Freeform 6113"/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7" name="Freeform 6115"/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8" name="Freeform 6116"/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9" name="Freeform 6117"/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50" name="Freeform 6118"/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500" name="Freeform 6134"/>
            <p:cNvSpPr>
              <a:spLocks/>
            </p:cNvSpPr>
            <p:nvPr/>
          </p:nvSpPr>
          <p:spPr bwMode="auto">
            <a:xfrm>
              <a:off x="3956532" y="4207503"/>
              <a:ext cx="2678" cy="3224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501" name="Freeform 6135"/>
            <p:cNvSpPr>
              <a:spLocks/>
            </p:cNvSpPr>
            <p:nvPr/>
          </p:nvSpPr>
          <p:spPr bwMode="auto">
            <a:xfrm>
              <a:off x="3960208" y="4202250"/>
              <a:ext cx="1116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502" name="Freeform 6136"/>
            <p:cNvSpPr>
              <a:spLocks/>
            </p:cNvSpPr>
            <p:nvPr/>
          </p:nvSpPr>
          <p:spPr bwMode="auto">
            <a:xfrm>
              <a:off x="3951969" y="4201861"/>
              <a:ext cx="2678" cy="3224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503" name="Freeform 6138"/>
            <p:cNvSpPr>
              <a:spLocks/>
            </p:cNvSpPr>
            <p:nvPr/>
          </p:nvSpPr>
          <p:spPr bwMode="auto">
            <a:xfrm>
              <a:off x="3952965" y="4209874"/>
              <a:ext cx="1785" cy="24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504" name="Freeform 6144"/>
            <p:cNvSpPr>
              <a:spLocks/>
            </p:cNvSpPr>
            <p:nvPr/>
          </p:nvSpPr>
          <p:spPr bwMode="auto">
            <a:xfrm>
              <a:off x="3950141" y="4196164"/>
              <a:ext cx="3572" cy="2418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505" name="Freeform 6149"/>
            <p:cNvSpPr>
              <a:spLocks/>
            </p:cNvSpPr>
            <p:nvPr/>
          </p:nvSpPr>
          <p:spPr bwMode="auto">
            <a:xfrm>
              <a:off x="3945656" y="4202169"/>
              <a:ext cx="2232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506" name="Freeform 6150"/>
            <p:cNvSpPr>
              <a:spLocks/>
            </p:cNvSpPr>
            <p:nvPr/>
          </p:nvSpPr>
          <p:spPr bwMode="auto">
            <a:xfrm>
              <a:off x="3947487" y="4207726"/>
              <a:ext cx="2678" cy="161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grpSp>
        <p:nvGrpSpPr>
          <p:cNvPr id="582" name="Group 581"/>
          <p:cNvGrpSpPr/>
          <p:nvPr/>
        </p:nvGrpSpPr>
        <p:grpSpPr>
          <a:xfrm>
            <a:off x="5230573" y="6057159"/>
            <a:ext cx="142875" cy="285750"/>
            <a:chOff x="7085013" y="5922963"/>
            <a:chExt cx="142875" cy="285750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10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1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3" name="Group 582"/>
          <p:cNvGrpSpPr/>
          <p:nvPr/>
        </p:nvGrpSpPr>
        <p:grpSpPr>
          <a:xfrm>
            <a:off x="5407015" y="6057159"/>
            <a:ext cx="142875" cy="285750"/>
            <a:chOff x="7085013" y="5922963"/>
            <a:chExt cx="142875" cy="285750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08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9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4" name="Group 583"/>
          <p:cNvGrpSpPr/>
          <p:nvPr/>
        </p:nvGrpSpPr>
        <p:grpSpPr>
          <a:xfrm>
            <a:off x="5583457" y="6057159"/>
            <a:ext cx="142875" cy="285750"/>
            <a:chOff x="7085013" y="5922963"/>
            <a:chExt cx="142875" cy="285750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06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5" name="Group 584"/>
          <p:cNvGrpSpPr/>
          <p:nvPr/>
        </p:nvGrpSpPr>
        <p:grpSpPr>
          <a:xfrm>
            <a:off x="5759899" y="6057159"/>
            <a:ext cx="142875" cy="285750"/>
            <a:chOff x="7085013" y="5922963"/>
            <a:chExt cx="142875" cy="285750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04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6" name="Group 585"/>
          <p:cNvGrpSpPr/>
          <p:nvPr/>
        </p:nvGrpSpPr>
        <p:grpSpPr>
          <a:xfrm>
            <a:off x="5936341" y="6057159"/>
            <a:ext cx="142875" cy="285750"/>
            <a:chOff x="7085013" y="5922963"/>
            <a:chExt cx="142875" cy="285750"/>
          </a:xfrm>
          <a:solidFill>
            <a:srgbClr val="46B688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02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7" name="Group 586"/>
          <p:cNvGrpSpPr/>
          <p:nvPr/>
        </p:nvGrpSpPr>
        <p:grpSpPr>
          <a:xfrm>
            <a:off x="6112783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00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8" name="Group 587"/>
          <p:cNvGrpSpPr/>
          <p:nvPr/>
        </p:nvGrpSpPr>
        <p:grpSpPr>
          <a:xfrm>
            <a:off x="6289225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98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9" name="Group 588"/>
          <p:cNvGrpSpPr/>
          <p:nvPr/>
        </p:nvGrpSpPr>
        <p:grpSpPr>
          <a:xfrm>
            <a:off x="6465667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96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0" name="Group 589"/>
          <p:cNvGrpSpPr/>
          <p:nvPr/>
        </p:nvGrpSpPr>
        <p:grpSpPr>
          <a:xfrm>
            <a:off x="6642109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94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1" name="Group 590"/>
          <p:cNvGrpSpPr/>
          <p:nvPr/>
        </p:nvGrpSpPr>
        <p:grpSpPr>
          <a:xfrm>
            <a:off x="6818552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592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3" name="Group 612"/>
          <p:cNvGrpSpPr/>
          <p:nvPr/>
        </p:nvGrpSpPr>
        <p:grpSpPr>
          <a:xfrm>
            <a:off x="8072323" y="6057159"/>
            <a:ext cx="142875" cy="285750"/>
            <a:chOff x="7085013" y="5922963"/>
            <a:chExt cx="142875" cy="285750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41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2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4" name="Group 613"/>
          <p:cNvGrpSpPr/>
          <p:nvPr/>
        </p:nvGrpSpPr>
        <p:grpSpPr>
          <a:xfrm>
            <a:off x="8248765" y="6057159"/>
            <a:ext cx="142875" cy="285750"/>
            <a:chOff x="7085013" y="5922963"/>
            <a:chExt cx="142875" cy="285750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39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0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5" name="Group 614"/>
          <p:cNvGrpSpPr/>
          <p:nvPr/>
        </p:nvGrpSpPr>
        <p:grpSpPr>
          <a:xfrm>
            <a:off x="8425207" y="6057159"/>
            <a:ext cx="142875" cy="285750"/>
            <a:chOff x="7085013" y="5922963"/>
            <a:chExt cx="142875" cy="285750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37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8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6" name="Group 615"/>
          <p:cNvGrpSpPr/>
          <p:nvPr/>
        </p:nvGrpSpPr>
        <p:grpSpPr>
          <a:xfrm>
            <a:off x="8601649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35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6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7" name="Group 616"/>
          <p:cNvGrpSpPr/>
          <p:nvPr/>
        </p:nvGrpSpPr>
        <p:grpSpPr>
          <a:xfrm>
            <a:off x="8778091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33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4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8" name="Group 617"/>
          <p:cNvGrpSpPr/>
          <p:nvPr/>
        </p:nvGrpSpPr>
        <p:grpSpPr>
          <a:xfrm>
            <a:off x="8954533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31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2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9" name="Group 618"/>
          <p:cNvGrpSpPr/>
          <p:nvPr/>
        </p:nvGrpSpPr>
        <p:grpSpPr>
          <a:xfrm>
            <a:off x="9130975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29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0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0" name="Group 619"/>
          <p:cNvGrpSpPr/>
          <p:nvPr/>
        </p:nvGrpSpPr>
        <p:grpSpPr>
          <a:xfrm>
            <a:off x="9307417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27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8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1" name="Group 620"/>
          <p:cNvGrpSpPr/>
          <p:nvPr/>
        </p:nvGrpSpPr>
        <p:grpSpPr>
          <a:xfrm>
            <a:off x="9483859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25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2" name="Group 621"/>
          <p:cNvGrpSpPr/>
          <p:nvPr/>
        </p:nvGrpSpPr>
        <p:grpSpPr>
          <a:xfrm>
            <a:off x="9660302" y="6057159"/>
            <a:ext cx="142875" cy="285750"/>
            <a:chOff x="7085013" y="5922963"/>
            <a:chExt cx="142875" cy="2857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623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1" name="Group 650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652" name="Parallelogram 651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3" name="Parallelogram 652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4" name="Parallelogram 653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55" name="Group 654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656" name="Parallelogram 655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7" name="Parallelogram 656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8" name="Parallelogram 657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0157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Oval 314"/>
          <p:cNvSpPr/>
          <p:nvPr/>
        </p:nvSpPr>
        <p:spPr>
          <a:xfrm>
            <a:off x="5474493" y="5323436"/>
            <a:ext cx="464136" cy="4641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6" name="Oval 305"/>
          <p:cNvSpPr/>
          <p:nvPr/>
        </p:nvSpPr>
        <p:spPr>
          <a:xfrm>
            <a:off x="5474493" y="4594263"/>
            <a:ext cx="464136" cy="4641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5" name="Oval 304"/>
          <p:cNvSpPr/>
          <p:nvPr/>
        </p:nvSpPr>
        <p:spPr>
          <a:xfrm>
            <a:off x="5474493" y="3865090"/>
            <a:ext cx="464136" cy="4641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5474493" y="3135917"/>
            <a:ext cx="464136" cy="46413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Placeholder 9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975" r="26975"/>
          <a:stretch>
            <a:fillRect/>
          </a:stretch>
        </p:blipFill>
        <p:spPr/>
      </p:pic>
      <p:sp>
        <p:nvSpPr>
          <p:cNvPr id="11" name="Rectangle 10"/>
          <p:cNvSpPr/>
          <p:nvPr/>
        </p:nvSpPr>
        <p:spPr>
          <a:xfrm>
            <a:off x="0" y="0"/>
            <a:ext cx="4737100" cy="6858000"/>
          </a:xfrm>
          <a:prstGeom prst="rect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880605" y="302221"/>
            <a:ext cx="2962246" cy="6253558"/>
            <a:chOff x="880605" y="302221"/>
            <a:chExt cx="2962246" cy="6253558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grpSp>
          <p:nvGrpSpPr>
            <p:cNvPr id="240" name="Group 239"/>
            <p:cNvGrpSpPr/>
            <p:nvPr/>
          </p:nvGrpSpPr>
          <p:grpSpPr>
            <a:xfrm>
              <a:off x="2886303" y="302221"/>
              <a:ext cx="479304" cy="39083"/>
              <a:chOff x="3605213" y="133352"/>
              <a:chExt cx="369888" cy="30161"/>
            </a:xfrm>
          </p:grpSpPr>
          <p:sp>
            <p:nvSpPr>
              <p:cNvPr id="280" name="Freeform 12"/>
              <p:cNvSpPr>
                <a:spLocks/>
              </p:cNvSpPr>
              <p:nvPr/>
            </p:nvSpPr>
            <p:spPr bwMode="auto">
              <a:xfrm>
                <a:off x="3617912" y="133352"/>
                <a:ext cx="346075" cy="19050"/>
              </a:xfrm>
              <a:custGeom>
                <a:avLst/>
                <a:gdLst>
                  <a:gd name="T0" fmla="*/ 36 w 1309"/>
                  <a:gd name="T1" fmla="*/ 0 h 74"/>
                  <a:gd name="T2" fmla="*/ 1272 w 1309"/>
                  <a:gd name="T3" fmla="*/ 0 h 74"/>
                  <a:gd name="T4" fmla="*/ 1280 w 1309"/>
                  <a:gd name="T5" fmla="*/ 1 h 74"/>
                  <a:gd name="T6" fmla="*/ 1286 w 1309"/>
                  <a:gd name="T7" fmla="*/ 3 h 74"/>
                  <a:gd name="T8" fmla="*/ 1292 w 1309"/>
                  <a:gd name="T9" fmla="*/ 7 h 74"/>
                  <a:gd name="T10" fmla="*/ 1298 w 1309"/>
                  <a:gd name="T11" fmla="*/ 11 h 74"/>
                  <a:gd name="T12" fmla="*/ 1302 w 1309"/>
                  <a:gd name="T13" fmla="*/ 16 h 74"/>
                  <a:gd name="T14" fmla="*/ 1306 w 1309"/>
                  <a:gd name="T15" fmla="*/ 23 h 74"/>
                  <a:gd name="T16" fmla="*/ 1308 w 1309"/>
                  <a:gd name="T17" fmla="*/ 30 h 74"/>
                  <a:gd name="T18" fmla="*/ 1309 w 1309"/>
                  <a:gd name="T19" fmla="*/ 38 h 74"/>
                  <a:gd name="T20" fmla="*/ 1309 w 1309"/>
                  <a:gd name="T21" fmla="*/ 38 h 74"/>
                  <a:gd name="T22" fmla="*/ 1308 w 1309"/>
                  <a:gd name="T23" fmla="*/ 44 h 74"/>
                  <a:gd name="T24" fmla="*/ 1306 w 1309"/>
                  <a:gd name="T25" fmla="*/ 51 h 74"/>
                  <a:gd name="T26" fmla="*/ 1302 w 1309"/>
                  <a:gd name="T27" fmla="*/ 58 h 74"/>
                  <a:gd name="T28" fmla="*/ 1298 w 1309"/>
                  <a:gd name="T29" fmla="*/ 64 h 74"/>
                  <a:gd name="T30" fmla="*/ 1292 w 1309"/>
                  <a:gd name="T31" fmla="*/ 67 h 74"/>
                  <a:gd name="T32" fmla="*/ 1286 w 1309"/>
                  <a:gd name="T33" fmla="*/ 71 h 74"/>
                  <a:gd name="T34" fmla="*/ 1280 w 1309"/>
                  <a:gd name="T35" fmla="*/ 73 h 74"/>
                  <a:gd name="T36" fmla="*/ 1272 w 1309"/>
                  <a:gd name="T37" fmla="*/ 74 h 74"/>
                  <a:gd name="T38" fmla="*/ 36 w 1309"/>
                  <a:gd name="T39" fmla="*/ 74 h 74"/>
                  <a:gd name="T40" fmla="*/ 30 w 1309"/>
                  <a:gd name="T41" fmla="*/ 73 h 74"/>
                  <a:gd name="T42" fmla="*/ 23 w 1309"/>
                  <a:gd name="T43" fmla="*/ 71 h 74"/>
                  <a:gd name="T44" fmla="*/ 16 w 1309"/>
                  <a:gd name="T45" fmla="*/ 67 h 74"/>
                  <a:gd name="T46" fmla="*/ 10 w 1309"/>
                  <a:gd name="T47" fmla="*/ 64 h 74"/>
                  <a:gd name="T48" fmla="*/ 6 w 1309"/>
                  <a:gd name="T49" fmla="*/ 58 h 74"/>
                  <a:gd name="T50" fmla="*/ 2 w 1309"/>
                  <a:gd name="T51" fmla="*/ 51 h 74"/>
                  <a:gd name="T52" fmla="*/ 1 w 1309"/>
                  <a:gd name="T53" fmla="*/ 44 h 74"/>
                  <a:gd name="T54" fmla="*/ 0 w 1309"/>
                  <a:gd name="T55" fmla="*/ 38 h 74"/>
                  <a:gd name="T56" fmla="*/ 0 w 1309"/>
                  <a:gd name="T57" fmla="*/ 38 h 74"/>
                  <a:gd name="T58" fmla="*/ 1 w 1309"/>
                  <a:gd name="T59" fmla="*/ 30 h 74"/>
                  <a:gd name="T60" fmla="*/ 2 w 1309"/>
                  <a:gd name="T61" fmla="*/ 23 h 74"/>
                  <a:gd name="T62" fmla="*/ 6 w 1309"/>
                  <a:gd name="T63" fmla="*/ 16 h 74"/>
                  <a:gd name="T64" fmla="*/ 10 w 1309"/>
                  <a:gd name="T65" fmla="*/ 11 h 74"/>
                  <a:gd name="T66" fmla="*/ 16 w 1309"/>
                  <a:gd name="T67" fmla="*/ 7 h 74"/>
                  <a:gd name="T68" fmla="*/ 23 w 1309"/>
                  <a:gd name="T69" fmla="*/ 3 h 74"/>
                  <a:gd name="T70" fmla="*/ 30 w 1309"/>
                  <a:gd name="T71" fmla="*/ 1 h 74"/>
                  <a:gd name="T72" fmla="*/ 36 w 1309"/>
                  <a:gd name="T7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09" h="74">
                    <a:moveTo>
                      <a:pt x="36" y="0"/>
                    </a:moveTo>
                    <a:lnTo>
                      <a:pt x="1272" y="0"/>
                    </a:lnTo>
                    <a:lnTo>
                      <a:pt x="1280" y="1"/>
                    </a:lnTo>
                    <a:lnTo>
                      <a:pt x="1286" y="3"/>
                    </a:lnTo>
                    <a:lnTo>
                      <a:pt x="1292" y="7"/>
                    </a:lnTo>
                    <a:lnTo>
                      <a:pt x="1298" y="11"/>
                    </a:lnTo>
                    <a:lnTo>
                      <a:pt x="1302" y="16"/>
                    </a:lnTo>
                    <a:lnTo>
                      <a:pt x="1306" y="23"/>
                    </a:lnTo>
                    <a:lnTo>
                      <a:pt x="1308" y="30"/>
                    </a:lnTo>
                    <a:lnTo>
                      <a:pt x="1309" y="38"/>
                    </a:lnTo>
                    <a:lnTo>
                      <a:pt x="1309" y="38"/>
                    </a:lnTo>
                    <a:lnTo>
                      <a:pt x="1308" y="44"/>
                    </a:lnTo>
                    <a:lnTo>
                      <a:pt x="1306" y="51"/>
                    </a:lnTo>
                    <a:lnTo>
                      <a:pt x="1302" y="58"/>
                    </a:lnTo>
                    <a:lnTo>
                      <a:pt x="1298" y="64"/>
                    </a:lnTo>
                    <a:lnTo>
                      <a:pt x="1292" y="67"/>
                    </a:lnTo>
                    <a:lnTo>
                      <a:pt x="1286" y="71"/>
                    </a:lnTo>
                    <a:lnTo>
                      <a:pt x="1280" y="73"/>
                    </a:lnTo>
                    <a:lnTo>
                      <a:pt x="1272" y="74"/>
                    </a:lnTo>
                    <a:lnTo>
                      <a:pt x="36" y="74"/>
                    </a:lnTo>
                    <a:lnTo>
                      <a:pt x="30" y="73"/>
                    </a:lnTo>
                    <a:lnTo>
                      <a:pt x="23" y="71"/>
                    </a:lnTo>
                    <a:lnTo>
                      <a:pt x="16" y="67"/>
                    </a:lnTo>
                    <a:lnTo>
                      <a:pt x="10" y="64"/>
                    </a:lnTo>
                    <a:lnTo>
                      <a:pt x="6" y="58"/>
                    </a:lnTo>
                    <a:lnTo>
                      <a:pt x="2" y="51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" y="30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0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6" y="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Rectangle 13"/>
              <p:cNvSpPr>
                <a:spLocks noChangeArrowheads="1"/>
              </p:cNvSpPr>
              <p:nvPr/>
            </p:nvSpPr>
            <p:spPr bwMode="auto">
              <a:xfrm>
                <a:off x="3605213" y="142875"/>
                <a:ext cx="369888" cy="20638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1" name="Group 240"/>
            <p:cNvGrpSpPr/>
            <p:nvPr/>
          </p:nvGrpSpPr>
          <p:grpSpPr>
            <a:xfrm>
              <a:off x="880605" y="1195000"/>
              <a:ext cx="39066" cy="1314475"/>
              <a:chOff x="2057454" y="822328"/>
              <a:chExt cx="30149" cy="1014410"/>
            </a:xfrm>
          </p:grpSpPr>
          <p:sp>
            <p:nvSpPr>
              <p:cNvPr id="274" name="Freeform 6"/>
              <p:cNvSpPr>
                <a:spLocks/>
              </p:cNvSpPr>
              <p:nvPr/>
            </p:nvSpPr>
            <p:spPr bwMode="auto">
              <a:xfrm>
                <a:off x="2057478" y="828677"/>
                <a:ext cx="19050" cy="200025"/>
              </a:xfrm>
              <a:custGeom>
                <a:avLst/>
                <a:gdLst>
                  <a:gd name="T0" fmla="*/ 0 w 74"/>
                  <a:gd name="T1" fmla="*/ 723 h 760"/>
                  <a:gd name="T2" fmla="*/ 0 w 74"/>
                  <a:gd name="T3" fmla="*/ 37 h 760"/>
                  <a:gd name="T4" fmla="*/ 1 w 74"/>
                  <a:gd name="T5" fmla="*/ 29 h 760"/>
                  <a:gd name="T6" fmla="*/ 3 w 74"/>
                  <a:gd name="T7" fmla="*/ 22 h 760"/>
                  <a:gd name="T8" fmla="*/ 7 w 74"/>
                  <a:gd name="T9" fmla="*/ 16 h 760"/>
                  <a:gd name="T10" fmla="*/ 11 w 74"/>
                  <a:gd name="T11" fmla="*/ 11 h 760"/>
                  <a:gd name="T12" fmla="*/ 16 w 74"/>
                  <a:gd name="T13" fmla="*/ 6 h 760"/>
                  <a:gd name="T14" fmla="*/ 23 w 74"/>
                  <a:gd name="T15" fmla="*/ 3 h 760"/>
                  <a:gd name="T16" fmla="*/ 30 w 74"/>
                  <a:gd name="T17" fmla="*/ 1 h 760"/>
                  <a:gd name="T18" fmla="*/ 38 w 74"/>
                  <a:gd name="T19" fmla="*/ 0 h 760"/>
                  <a:gd name="T20" fmla="*/ 38 w 74"/>
                  <a:gd name="T21" fmla="*/ 0 h 760"/>
                  <a:gd name="T22" fmla="*/ 44 w 74"/>
                  <a:gd name="T23" fmla="*/ 1 h 760"/>
                  <a:gd name="T24" fmla="*/ 51 w 74"/>
                  <a:gd name="T25" fmla="*/ 3 h 760"/>
                  <a:gd name="T26" fmla="*/ 58 w 74"/>
                  <a:gd name="T27" fmla="*/ 6 h 760"/>
                  <a:gd name="T28" fmla="*/ 63 w 74"/>
                  <a:gd name="T29" fmla="*/ 11 h 760"/>
                  <a:gd name="T30" fmla="*/ 67 w 74"/>
                  <a:gd name="T31" fmla="*/ 16 h 760"/>
                  <a:gd name="T32" fmla="*/ 71 w 74"/>
                  <a:gd name="T33" fmla="*/ 22 h 760"/>
                  <a:gd name="T34" fmla="*/ 73 w 74"/>
                  <a:gd name="T35" fmla="*/ 29 h 760"/>
                  <a:gd name="T36" fmla="*/ 74 w 74"/>
                  <a:gd name="T37" fmla="*/ 37 h 760"/>
                  <a:gd name="T38" fmla="*/ 74 w 74"/>
                  <a:gd name="T39" fmla="*/ 723 h 760"/>
                  <a:gd name="T40" fmla="*/ 73 w 74"/>
                  <a:gd name="T41" fmla="*/ 730 h 760"/>
                  <a:gd name="T42" fmla="*/ 71 w 74"/>
                  <a:gd name="T43" fmla="*/ 738 h 760"/>
                  <a:gd name="T44" fmla="*/ 67 w 74"/>
                  <a:gd name="T45" fmla="*/ 744 h 760"/>
                  <a:gd name="T46" fmla="*/ 63 w 74"/>
                  <a:gd name="T47" fmla="*/ 750 h 760"/>
                  <a:gd name="T48" fmla="*/ 58 w 74"/>
                  <a:gd name="T49" fmla="*/ 754 h 760"/>
                  <a:gd name="T50" fmla="*/ 51 w 74"/>
                  <a:gd name="T51" fmla="*/ 758 h 760"/>
                  <a:gd name="T52" fmla="*/ 44 w 74"/>
                  <a:gd name="T53" fmla="*/ 760 h 760"/>
                  <a:gd name="T54" fmla="*/ 38 w 74"/>
                  <a:gd name="T55" fmla="*/ 760 h 760"/>
                  <a:gd name="T56" fmla="*/ 38 w 74"/>
                  <a:gd name="T57" fmla="*/ 760 h 760"/>
                  <a:gd name="T58" fmla="*/ 30 w 74"/>
                  <a:gd name="T59" fmla="*/ 760 h 760"/>
                  <a:gd name="T60" fmla="*/ 23 w 74"/>
                  <a:gd name="T61" fmla="*/ 758 h 760"/>
                  <a:gd name="T62" fmla="*/ 16 w 74"/>
                  <a:gd name="T63" fmla="*/ 754 h 760"/>
                  <a:gd name="T64" fmla="*/ 11 w 74"/>
                  <a:gd name="T65" fmla="*/ 750 h 760"/>
                  <a:gd name="T66" fmla="*/ 7 w 74"/>
                  <a:gd name="T67" fmla="*/ 744 h 760"/>
                  <a:gd name="T68" fmla="*/ 3 w 74"/>
                  <a:gd name="T69" fmla="*/ 738 h 760"/>
                  <a:gd name="T70" fmla="*/ 1 w 74"/>
                  <a:gd name="T71" fmla="*/ 730 h 760"/>
                  <a:gd name="T72" fmla="*/ 0 w 74"/>
                  <a:gd name="T73" fmla="*/ 723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760">
                    <a:moveTo>
                      <a:pt x="0" y="723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723"/>
                    </a:lnTo>
                    <a:lnTo>
                      <a:pt x="73" y="730"/>
                    </a:lnTo>
                    <a:lnTo>
                      <a:pt x="71" y="738"/>
                    </a:lnTo>
                    <a:lnTo>
                      <a:pt x="67" y="744"/>
                    </a:lnTo>
                    <a:lnTo>
                      <a:pt x="63" y="750"/>
                    </a:lnTo>
                    <a:lnTo>
                      <a:pt x="58" y="754"/>
                    </a:lnTo>
                    <a:lnTo>
                      <a:pt x="51" y="758"/>
                    </a:lnTo>
                    <a:lnTo>
                      <a:pt x="44" y="760"/>
                    </a:lnTo>
                    <a:lnTo>
                      <a:pt x="38" y="760"/>
                    </a:lnTo>
                    <a:lnTo>
                      <a:pt x="38" y="760"/>
                    </a:lnTo>
                    <a:lnTo>
                      <a:pt x="30" y="760"/>
                    </a:lnTo>
                    <a:lnTo>
                      <a:pt x="23" y="758"/>
                    </a:lnTo>
                    <a:lnTo>
                      <a:pt x="16" y="754"/>
                    </a:lnTo>
                    <a:lnTo>
                      <a:pt x="11" y="750"/>
                    </a:lnTo>
                    <a:lnTo>
                      <a:pt x="7" y="744"/>
                    </a:lnTo>
                    <a:lnTo>
                      <a:pt x="3" y="738"/>
                    </a:lnTo>
                    <a:lnTo>
                      <a:pt x="1" y="730"/>
                    </a:lnTo>
                    <a:lnTo>
                      <a:pt x="0" y="723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7"/>
              <p:cNvSpPr>
                <a:spLocks/>
              </p:cNvSpPr>
              <p:nvPr/>
            </p:nvSpPr>
            <p:spPr bwMode="auto">
              <a:xfrm>
                <a:off x="2057454" y="1281117"/>
                <a:ext cx="19050" cy="155575"/>
              </a:xfrm>
              <a:custGeom>
                <a:avLst/>
                <a:gdLst>
                  <a:gd name="T0" fmla="*/ 0 w 74"/>
                  <a:gd name="T1" fmla="*/ 550 h 588"/>
                  <a:gd name="T2" fmla="*/ 0 w 74"/>
                  <a:gd name="T3" fmla="*/ 37 h 588"/>
                  <a:gd name="T4" fmla="*/ 1 w 74"/>
                  <a:gd name="T5" fmla="*/ 29 h 588"/>
                  <a:gd name="T6" fmla="*/ 3 w 74"/>
                  <a:gd name="T7" fmla="*/ 22 h 588"/>
                  <a:gd name="T8" fmla="*/ 7 w 74"/>
                  <a:gd name="T9" fmla="*/ 17 h 588"/>
                  <a:gd name="T10" fmla="*/ 11 w 74"/>
                  <a:gd name="T11" fmla="*/ 11 h 588"/>
                  <a:gd name="T12" fmla="*/ 16 w 74"/>
                  <a:gd name="T13" fmla="*/ 6 h 588"/>
                  <a:gd name="T14" fmla="*/ 23 w 74"/>
                  <a:gd name="T15" fmla="*/ 3 h 588"/>
                  <a:gd name="T16" fmla="*/ 30 w 74"/>
                  <a:gd name="T17" fmla="*/ 1 h 588"/>
                  <a:gd name="T18" fmla="*/ 38 w 74"/>
                  <a:gd name="T19" fmla="*/ 0 h 588"/>
                  <a:gd name="T20" fmla="*/ 38 w 74"/>
                  <a:gd name="T21" fmla="*/ 0 h 588"/>
                  <a:gd name="T22" fmla="*/ 44 w 74"/>
                  <a:gd name="T23" fmla="*/ 1 h 588"/>
                  <a:gd name="T24" fmla="*/ 51 w 74"/>
                  <a:gd name="T25" fmla="*/ 3 h 588"/>
                  <a:gd name="T26" fmla="*/ 58 w 74"/>
                  <a:gd name="T27" fmla="*/ 6 h 588"/>
                  <a:gd name="T28" fmla="*/ 63 w 74"/>
                  <a:gd name="T29" fmla="*/ 11 h 588"/>
                  <a:gd name="T30" fmla="*/ 67 w 74"/>
                  <a:gd name="T31" fmla="*/ 17 h 588"/>
                  <a:gd name="T32" fmla="*/ 71 w 74"/>
                  <a:gd name="T33" fmla="*/ 22 h 588"/>
                  <a:gd name="T34" fmla="*/ 73 w 74"/>
                  <a:gd name="T35" fmla="*/ 29 h 588"/>
                  <a:gd name="T36" fmla="*/ 74 w 74"/>
                  <a:gd name="T37" fmla="*/ 37 h 588"/>
                  <a:gd name="T38" fmla="*/ 74 w 74"/>
                  <a:gd name="T39" fmla="*/ 550 h 588"/>
                  <a:gd name="T40" fmla="*/ 73 w 74"/>
                  <a:gd name="T41" fmla="*/ 558 h 588"/>
                  <a:gd name="T42" fmla="*/ 71 w 74"/>
                  <a:gd name="T43" fmla="*/ 565 h 588"/>
                  <a:gd name="T44" fmla="*/ 67 w 74"/>
                  <a:gd name="T45" fmla="*/ 571 h 588"/>
                  <a:gd name="T46" fmla="*/ 63 w 74"/>
                  <a:gd name="T47" fmla="*/ 576 h 588"/>
                  <a:gd name="T48" fmla="*/ 58 w 74"/>
                  <a:gd name="T49" fmla="*/ 581 h 588"/>
                  <a:gd name="T50" fmla="*/ 51 w 74"/>
                  <a:gd name="T51" fmla="*/ 584 h 588"/>
                  <a:gd name="T52" fmla="*/ 44 w 74"/>
                  <a:gd name="T53" fmla="*/ 587 h 588"/>
                  <a:gd name="T54" fmla="*/ 38 w 74"/>
                  <a:gd name="T55" fmla="*/ 588 h 588"/>
                  <a:gd name="T56" fmla="*/ 38 w 74"/>
                  <a:gd name="T57" fmla="*/ 588 h 588"/>
                  <a:gd name="T58" fmla="*/ 30 w 74"/>
                  <a:gd name="T59" fmla="*/ 587 h 588"/>
                  <a:gd name="T60" fmla="*/ 23 w 74"/>
                  <a:gd name="T61" fmla="*/ 584 h 588"/>
                  <a:gd name="T62" fmla="*/ 16 w 74"/>
                  <a:gd name="T63" fmla="*/ 581 h 588"/>
                  <a:gd name="T64" fmla="*/ 11 w 74"/>
                  <a:gd name="T65" fmla="*/ 576 h 588"/>
                  <a:gd name="T66" fmla="*/ 7 w 74"/>
                  <a:gd name="T67" fmla="*/ 571 h 588"/>
                  <a:gd name="T68" fmla="*/ 3 w 74"/>
                  <a:gd name="T69" fmla="*/ 565 h 588"/>
                  <a:gd name="T70" fmla="*/ 1 w 74"/>
                  <a:gd name="T71" fmla="*/ 558 h 588"/>
                  <a:gd name="T72" fmla="*/ 0 w 74"/>
                  <a:gd name="T73" fmla="*/ 55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8">
                    <a:moveTo>
                      <a:pt x="0" y="550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7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7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550"/>
                    </a:lnTo>
                    <a:lnTo>
                      <a:pt x="73" y="558"/>
                    </a:lnTo>
                    <a:lnTo>
                      <a:pt x="71" y="565"/>
                    </a:lnTo>
                    <a:lnTo>
                      <a:pt x="67" y="571"/>
                    </a:lnTo>
                    <a:lnTo>
                      <a:pt x="63" y="576"/>
                    </a:lnTo>
                    <a:lnTo>
                      <a:pt x="58" y="581"/>
                    </a:lnTo>
                    <a:lnTo>
                      <a:pt x="51" y="584"/>
                    </a:lnTo>
                    <a:lnTo>
                      <a:pt x="44" y="587"/>
                    </a:lnTo>
                    <a:lnTo>
                      <a:pt x="38" y="588"/>
                    </a:lnTo>
                    <a:lnTo>
                      <a:pt x="38" y="588"/>
                    </a:lnTo>
                    <a:lnTo>
                      <a:pt x="30" y="587"/>
                    </a:lnTo>
                    <a:lnTo>
                      <a:pt x="23" y="584"/>
                    </a:lnTo>
                    <a:lnTo>
                      <a:pt x="16" y="581"/>
                    </a:lnTo>
                    <a:lnTo>
                      <a:pt x="11" y="576"/>
                    </a:lnTo>
                    <a:lnTo>
                      <a:pt x="7" y="571"/>
                    </a:lnTo>
                    <a:lnTo>
                      <a:pt x="3" y="565"/>
                    </a:lnTo>
                    <a:lnTo>
                      <a:pt x="1" y="558"/>
                    </a:lnTo>
                    <a:lnTo>
                      <a:pt x="0" y="55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8"/>
              <p:cNvSpPr>
                <a:spLocks/>
              </p:cNvSpPr>
              <p:nvPr/>
            </p:nvSpPr>
            <p:spPr bwMode="auto">
              <a:xfrm>
                <a:off x="2057473" y="1676404"/>
                <a:ext cx="19050" cy="155575"/>
              </a:xfrm>
              <a:custGeom>
                <a:avLst/>
                <a:gdLst>
                  <a:gd name="T0" fmla="*/ 0 w 74"/>
                  <a:gd name="T1" fmla="*/ 551 h 587"/>
                  <a:gd name="T2" fmla="*/ 0 w 74"/>
                  <a:gd name="T3" fmla="*/ 38 h 587"/>
                  <a:gd name="T4" fmla="*/ 1 w 74"/>
                  <a:gd name="T5" fmla="*/ 30 h 587"/>
                  <a:gd name="T6" fmla="*/ 3 w 74"/>
                  <a:gd name="T7" fmla="*/ 23 h 587"/>
                  <a:gd name="T8" fmla="*/ 7 w 74"/>
                  <a:gd name="T9" fmla="*/ 16 h 587"/>
                  <a:gd name="T10" fmla="*/ 11 w 74"/>
                  <a:gd name="T11" fmla="*/ 11 h 587"/>
                  <a:gd name="T12" fmla="*/ 16 w 74"/>
                  <a:gd name="T13" fmla="*/ 7 h 587"/>
                  <a:gd name="T14" fmla="*/ 23 w 74"/>
                  <a:gd name="T15" fmla="*/ 3 h 587"/>
                  <a:gd name="T16" fmla="*/ 30 w 74"/>
                  <a:gd name="T17" fmla="*/ 1 h 587"/>
                  <a:gd name="T18" fmla="*/ 38 w 74"/>
                  <a:gd name="T19" fmla="*/ 0 h 587"/>
                  <a:gd name="T20" fmla="*/ 38 w 74"/>
                  <a:gd name="T21" fmla="*/ 0 h 587"/>
                  <a:gd name="T22" fmla="*/ 44 w 74"/>
                  <a:gd name="T23" fmla="*/ 1 h 587"/>
                  <a:gd name="T24" fmla="*/ 51 w 74"/>
                  <a:gd name="T25" fmla="*/ 3 h 587"/>
                  <a:gd name="T26" fmla="*/ 58 w 74"/>
                  <a:gd name="T27" fmla="*/ 7 h 587"/>
                  <a:gd name="T28" fmla="*/ 63 w 74"/>
                  <a:gd name="T29" fmla="*/ 11 h 587"/>
                  <a:gd name="T30" fmla="*/ 67 w 74"/>
                  <a:gd name="T31" fmla="*/ 16 h 587"/>
                  <a:gd name="T32" fmla="*/ 71 w 74"/>
                  <a:gd name="T33" fmla="*/ 23 h 587"/>
                  <a:gd name="T34" fmla="*/ 73 w 74"/>
                  <a:gd name="T35" fmla="*/ 30 h 587"/>
                  <a:gd name="T36" fmla="*/ 74 w 74"/>
                  <a:gd name="T37" fmla="*/ 38 h 587"/>
                  <a:gd name="T38" fmla="*/ 74 w 74"/>
                  <a:gd name="T39" fmla="*/ 551 h 587"/>
                  <a:gd name="T40" fmla="*/ 73 w 74"/>
                  <a:gd name="T41" fmla="*/ 557 h 587"/>
                  <a:gd name="T42" fmla="*/ 71 w 74"/>
                  <a:gd name="T43" fmla="*/ 564 h 587"/>
                  <a:gd name="T44" fmla="*/ 67 w 74"/>
                  <a:gd name="T45" fmla="*/ 571 h 587"/>
                  <a:gd name="T46" fmla="*/ 63 w 74"/>
                  <a:gd name="T47" fmla="*/ 577 h 587"/>
                  <a:gd name="T48" fmla="*/ 58 w 74"/>
                  <a:gd name="T49" fmla="*/ 581 h 587"/>
                  <a:gd name="T50" fmla="*/ 51 w 74"/>
                  <a:gd name="T51" fmla="*/ 585 h 587"/>
                  <a:gd name="T52" fmla="*/ 44 w 74"/>
                  <a:gd name="T53" fmla="*/ 586 h 587"/>
                  <a:gd name="T54" fmla="*/ 38 w 74"/>
                  <a:gd name="T55" fmla="*/ 587 h 587"/>
                  <a:gd name="T56" fmla="*/ 38 w 74"/>
                  <a:gd name="T57" fmla="*/ 587 h 587"/>
                  <a:gd name="T58" fmla="*/ 30 w 74"/>
                  <a:gd name="T59" fmla="*/ 586 h 587"/>
                  <a:gd name="T60" fmla="*/ 23 w 74"/>
                  <a:gd name="T61" fmla="*/ 585 h 587"/>
                  <a:gd name="T62" fmla="*/ 16 w 74"/>
                  <a:gd name="T63" fmla="*/ 581 h 587"/>
                  <a:gd name="T64" fmla="*/ 11 w 74"/>
                  <a:gd name="T65" fmla="*/ 577 h 587"/>
                  <a:gd name="T66" fmla="*/ 7 w 74"/>
                  <a:gd name="T67" fmla="*/ 571 h 587"/>
                  <a:gd name="T68" fmla="*/ 3 w 74"/>
                  <a:gd name="T69" fmla="*/ 564 h 587"/>
                  <a:gd name="T70" fmla="*/ 1 w 74"/>
                  <a:gd name="T71" fmla="*/ 557 h 587"/>
                  <a:gd name="T72" fmla="*/ 0 w 74"/>
                  <a:gd name="T73" fmla="*/ 551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7">
                    <a:moveTo>
                      <a:pt x="0" y="551"/>
                    </a:moveTo>
                    <a:lnTo>
                      <a:pt x="0" y="38"/>
                    </a:lnTo>
                    <a:lnTo>
                      <a:pt x="1" y="30"/>
                    </a:lnTo>
                    <a:lnTo>
                      <a:pt x="3" y="23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7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3"/>
                    </a:lnTo>
                    <a:lnTo>
                      <a:pt x="73" y="30"/>
                    </a:lnTo>
                    <a:lnTo>
                      <a:pt x="74" y="38"/>
                    </a:lnTo>
                    <a:lnTo>
                      <a:pt x="74" y="551"/>
                    </a:lnTo>
                    <a:lnTo>
                      <a:pt x="73" y="557"/>
                    </a:lnTo>
                    <a:lnTo>
                      <a:pt x="71" y="564"/>
                    </a:lnTo>
                    <a:lnTo>
                      <a:pt x="67" y="571"/>
                    </a:lnTo>
                    <a:lnTo>
                      <a:pt x="63" y="577"/>
                    </a:lnTo>
                    <a:lnTo>
                      <a:pt x="58" y="581"/>
                    </a:lnTo>
                    <a:lnTo>
                      <a:pt x="51" y="585"/>
                    </a:lnTo>
                    <a:lnTo>
                      <a:pt x="44" y="586"/>
                    </a:lnTo>
                    <a:lnTo>
                      <a:pt x="38" y="587"/>
                    </a:lnTo>
                    <a:lnTo>
                      <a:pt x="38" y="587"/>
                    </a:lnTo>
                    <a:lnTo>
                      <a:pt x="30" y="586"/>
                    </a:lnTo>
                    <a:lnTo>
                      <a:pt x="23" y="585"/>
                    </a:lnTo>
                    <a:lnTo>
                      <a:pt x="16" y="581"/>
                    </a:lnTo>
                    <a:lnTo>
                      <a:pt x="11" y="577"/>
                    </a:lnTo>
                    <a:lnTo>
                      <a:pt x="7" y="571"/>
                    </a:lnTo>
                    <a:lnTo>
                      <a:pt x="3" y="564"/>
                    </a:lnTo>
                    <a:lnTo>
                      <a:pt x="1" y="557"/>
                    </a:lnTo>
                    <a:lnTo>
                      <a:pt x="0" y="551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Rectangle 9"/>
              <p:cNvSpPr>
                <a:spLocks noChangeArrowheads="1"/>
              </p:cNvSpPr>
              <p:nvPr/>
            </p:nvSpPr>
            <p:spPr bwMode="auto">
              <a:xfrm>
                <a:off x="2066965" y="822328"/>
                <a:ext cx="20638" cy="214313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Rectangle 10"/>
              <p:cNvSpPr>
                <a:spLocks noChangeArrowheads="1"/>
              </p:cNvSpPr>
              <p:nvPr/>
            </p:nvSpPr>
            <p:spPr bwMode="auto">
              <a:xfrm>
                <a:off x="2066960" y="1276353"/>
                <a:ext cx="20638" cy="165101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Rectangle 11"/>
              <p:cNvSpPr>
                <a:spLocks noChangeArrowheads="1"/>
              </p:cNvSpPr>
              <p:nvPr/>
            </p:nvSpPr>
            <p:spPr bwMode="auto">
              <a:xfrm>
                <a:off x="2066925" y="1670049"/>
                <a:ext cx="20638" cy="166689"/>
              </a:xfrm>
              <a:prstGeom prst="rect">
                <a:avLst/>
              </a:prstGeom>
              <a:gradFill flip="none" rotWithShape="1">
                <a:gsLst>
                  <a:gs pos="78000">
                    <a:schemeClr val="tx1">
                      <a:lumMod val="75000"/>
                      <a:lumOff val="25000"/>
                    </a:schemeClr>
                  </a:gs>
                  <a:gs pos="100000">
                    <a:srgbClr val="3C3C3C"/>
                  </a:gs>
                  <a:gs pos="0">
                    <a:schemeClr val="tx1">
                      <a:lumMod val="75000"/>
                      <a:lumOff val="25000"/>
                    </a:schemeClr>
                  </a:gs>
                  <a:gs pos="13000">
                    <a:schemeClr val="tx1">
                      <a:lumMod val="85000"/>
                      <a:lumOff val="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42" name="Freeform 14"/>
            <p:cNvSpPr>
              <a:spLocks/>
            </p:cNvSpPr>
            <p:nvPr/>
          </p:nvSpPr>
          <p:spPr bwMode="auto">
            <a:xfrm>
              <a:off x="915608" y="335133"/>
              <a:ext cx="2927243" cy="6220646"/>
            </a:xfrm>
            <a:custGeom>
              <a:avLst/>
              <a:gdLst>
                <a:gd name="T0" fmla="*/ 7316 w 8536"/>
                <a:gd name="T1" fmla="*/ 1 h 18144"/>
                <a:gd name="T2" fmla="*/ 7508 w 8536"/>
                <a:gd name="T3" fmla="*/ 26 h 18144"/>
                <a:gd name="T4" fmla="*/ 7691 w 8536"/>
                <a:gd name="T5" fmla="*/ 77 h 18144"/>
                <a:gd name="T6" fmla="*/ 7862 w 8536"/>
                <a:gd name="T7" fmla="*/ 155 h 18144"/>
                <a:gd name="T8" fmla="*/ 8018 w 8536"/>
                <a:gd name="T9" fmla="*/ 255 h 18144"/>
                <a:gd name="T10" fmla="*/ 8158 w 8536"/>
                <a:gd name="T11" fmla="*/ 377 h 18144"/>
                <a:gd name="T12" fmla="*/ 8279 w 8536"/>
                <a:gd name="T13" fmla="*/ 517 h 18144"/>
                <a:gd name="T14" fmla="*/ 8380 w 8536"/>
                <a:gd name="T15" fmla="*/ 674 h 18144"/>
                <a:gd name="T16" fmla="*/ 8457 w 8536"/>
                <a:gd name="T17" fmla="*/ 845 h 18144"/>
                <a:gd name="T18" fmla="*/ 8510 w 8536"/>
                <a:gd name="T19" fmla="*/ 1027 h 18144"/>
                <a:gd name="T20" fmla="*/ 8535 w 8536"/>
                <a:gd name="T21" fmla="*/ 1218 h 18144"/>
                <a:gd name="T22" fmla="*/ 8535 w 8536"/>
                <a:gd name="T23" fmla="*/ 16924 h 18144"/>
                <a:gd name="T24" fmla="*/ 8510 w 8536"/>
                <a:gd name="T25" fmla="*/ 17117 h 18144"/>
                <a:gd name="T26" fmla="*/ 8457 w 8536"/>
                <a:gd name="T27" fmla="*/ 17299 h 18144"/>
                <a:gd name="T28" fmla="*/ 8380 w 8536"/>
                <a:gd name="T29" fmla="*/ 17470 h 18144"/>
                <a:gd name="T30" fmla="*/ 8279 w 8536"/>
                <a:gd name="T31" fmla="*/ 17626 h 18144"/>
                <a:gd name="T32" fmla="*/ 8158 w 8536"/>
                <a:gd name="T33" fmla="*/ 17767 h 18144"/>
                <a:gd name="T34" fmla="*/ 8018 w 8536"/>
                <a:gd name="T35" fmla="*/ 17888 h 18144"/>
                <a:gd name="T36" fmla="*/ 7862 w 8536"/>
                <a:gd name="T37" fmla="*/ 17988 h 18144"/>
                <a:gd name="T38" fmla="*/ 7691 w 8536"/>
                <a:gd name="T39" fmla="*/ 18065 h 18144"/>
                <a:gd name="T40" fmla="*/ 7508 w 8536"/>
                <a:gd name="T41" fmla="*/ 18118 h 18144"/>
                <a:gd name="T42" fmla="*/ 7316 w 8536"/>
                <a:gd name="T43" fmla="*/ 18143 h 18144"/>
                <a:gd name="T44" fmla="*/ 1220 w 8536"/>
                <a:gd name="T45" fmla="*/ 18143 h 18144"/>
                <a:gd name="T46" fmla="*/ 1027 w 8536"/>
                <a:gd name="T47" fmla="*/ 18118 h 18144"/>
                <a:gd name="T48" fmla="*/ 845 w 8536"/>
                <a:gd name="T49" fmla="*/ 18065 h 18144"/>
                <a:gd name="T50" fmla="*/ 674 w 8536"/>
                <a:gd name="T51" fmla="*/ 17988 h 18144"/>
                <a:gd name="T52" fmla="*/ 518 w 8536"/>
                <a:gd name="T53" fmla="*/ 17888 h 18144"/>
                <a:gd name="T54" fmla="*/ 377 w 8536"/>
                <a:gd name="T55" fmla="*/ 17767 h 18144"/>
                <a:gd name="T56" fmla="*/ 256 w 8536"/>
                <a:gd name="T57" fmla="*/ 17626 h 18144"/>
                <a:gd name="T58" fmla="*/ 156 w 8536"/>
                <a:gd name="T59" fmla="*/ 17470 h 18144"/>
                <a:gd name="T60" fmla="*/ 78 w 8536"/>
                <a:gd name="T61" fmla="*/ 17299 h 18144"/>
                <a:gd name="T62" fmla="*/ 26 w 8536"/>
                <a:gd name="T63" fmla="*/ 17117 h 18144"/>
                <a:gd name="T64" fmla="*/ 2 w 8536"/>
                <a:gd name="T65" fmla="*/ 16924 h 18144"/>
                <a:gd name="T66" fmla="*/ 2 w 8536"/>
                <a:gd name="T67" fmla="*/ 1218 h 18144"/>
                <a:gd name="T68" fmla="*/ 26 w 8536"/>
                <a:gd name="T69" fmla="*/ 1027 h 18144"/>
                <a:gd name="T70" fmla="*/ 78 w 8536"/>
                <a:gd name="T71" fmla="*/ 845 h 18144"/>
                <a:gd name="T72" fmla="*/ 156 w 8536"/>
                <a:gd name="T73" fmla="*/ 674 h 18144"/>
                <a:gd name="T74" fmla="*/ 256 w 8536"/>
                <a:gd name="T75" fmla="*/ 517 h 18144"/>
                <a:gd name="T76" fmla="*/ 377 w 8536"/>
                <a:gd name="T77" fmla="*/ 377 h 18144"/>
                <a:gd name="T78" fmla="*/ 518 w 8536"/>
                <a:gd name="T79" fmla="*/ 255 h 18144"/>
                <a:gd name="T80" fmla="*/ 674 w 8536"/>
                <a:gd name="T81" fmla="*/ 155 h 18144"/>
                <a:gd name="T82" fmla="*/ 845 w 8536"/>
                <a:gd name="T83" fmla="*/ 77 h 18144"/>
                <a:gd name="T84" fmla="*/ 1027 w 8536"/>
                <a:gd name="T85" fmla="*/ 26 h 18144"/>
                <a:gd name="T86" fmla="*/ 1220 w 8536"/>
                <a:gd name="T87" fmla="*/ 1 h 18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36" h="18144">
                  <a:moveTo>
                    <a:pt x="1286" y="0"/>
                  </a:moveTo>
                  <a:lnTo>
                    <a:pt x="7249" y="0"/>
                  </a:lnTo>
                  <a:lnTo>
                    <a:pt x="7316" y="1"/>
                  </a:lnTo>
                  <a:lnTo>
                    <a:pt x="7381" y="5"/>
                  </a:lnTo>
                  <a:lnTo>
                    <a:pt x="7446" y="15"/>
                  </a:lnTo>
                  <a:lnTo>
                    <a:pt x="7508" y="26"/>
                  </a:lnTo>
                  <a:lnTo>
                    <a:pt x="7570" y="40"/>
                  </a:lnTo>
                  <a:lnTo>
                    <a:pt x="7632" y="58"/>
                  </a:lnTo>
                  <a:lnTo>
                    <a:pt x="7691" y="77"/>
                  </a:lnTo>
                  <a:lnTo>
                    <a:pt x="7749" y="101"/>
                  </a:lnTo>
                  <a:lnTo>
                    <a:pt x="7806" y="126"/>
                  </a:lnTo>
                  <a:lnTo>
                    <a:pt x="7862" y="155"/>
                  </a:lnTo>
                  <a:lnTo>
                    <a:pt x="7916" y="186"/>
                  </a:lnTo>
                  <a:lnTo>
                    <a:pt x="7968" y="220"/>
                  </a:lnTo>
                  <a:lnTo>
                    <a:pt x="8018" y="255"/>
                  </a:lnTo>
                  <a:lnTo>
                    <a:pt x="8067" y="294"/>
                  </a:lnTo>
                  <a:lnTo>
                    <a:pt x="8114" y="334"/>
                  </a:lnTo>
                  <a:lnTo>
                    <a:pt x="8158" y="377"/>
                  </a:lnTo>
                  <a:lnTo>
                    <a:pt x="8201" y="422"/>
                  </a:lnTo>
                  <a:lnTo>
                    <a:pt x="8242" y="468"/>
                  </a:lnTo>
                  <a:lnTo>
                    <a:pt x="8279" y="517"/>
                  </a:lnTo>
                  <a:lnTo>
                    <a:pt x="8316" y="567"/>
                  </a:lnTo>
                  <a:lnTo>
                    <a:pt x="8349" y="620"/>
                  </a:lnTo>
                  <a:lnTo>
                    <a:pt x="8380" y="674"/>
                  </a:lnTo>
                  <a:lnTo>
                    <a:pt x="8408" y="728"/>
                  </a:lnTo>
                  <a:lnTo>
                    <a:pt x="8434" y="785"/>
                  </a:lnTo>
                  <a:lnTo>
                    <a:pt x="8457" y="845"/>
                  </a:lnTo>
                  <a:lnTo>
                    <a:pt x="8478" y="904"/>
                  </a:lnTo>
                  <a:lnTo>
                    <a:pt x="8495" y="964"/>
                  </a:lnTo>
                  <a:lnTo>
                    <a:pt x="8510" y="1027"/>
                  </a:lnTo>
                  <a:lnTo>
                    <a:pt x="8521" y="1090"/>
                  </a:lnTo>
                  <a:lnTo>
                    <a:pt x="8529" y="1153"/>
                  </a:lnTo>
                  <a:lnTo>
                    <a:pt x="8535" y="1218"/>
                  </a:lnTo>
                  <a:lnTo>
                    <a:pt x="8536" y="1285"/>
                  </a:lnTo>
                  <a:lnTo>
                    <a:pt x="8536" y="16858"/>
                  </a:lnTo>
                  <a:lnTo>
                    <a:pt x="8535" y="16924"/>
                  </a:lnTo>
                  <a:lnTo>
                    <a:pt x="8529" y="16989"/>
                  </a:lnTo>
                  <a:lnTo>
                    <a:pt x="8521" y="17054"/>
                  </a:lnTo>
                  <a:lnTo>
                    <a:pt x="8510" y="17117"/>
                  </a:lnTo>
                  <a:lnTo>
                    <a:pt x="8495" y="17178"/>
                  </a:lnTo>
                  <a:lnTo>
                    <a:pt x="8478" y="17240"/>
                  </a:lnTo>
                  <a:lnTo>
                    <a:pt x="8457" y="17299"/>
                  </a:lnTo>
                  <a:lnTo>
                    <a:pt x="8434" y="17357"/>
                  </a:lnTo>
                  <a:lnTo>
                    <a:pt x="8408" y="17414"/>
                  </a:lnTo>
                  <a:lnTo>
                    <a:pt x="8380" y="17470"/>
                  </a:lnTo>
                  <a:lnTo>
                    <a:pt x="8349" y="17524"/>
                  </a:lnTo>
                  <a:lnTo>
                    <a:pt x="8316" y="17576"/>
                  </a:lnTo>
                  <a:lnTo>
                    <a:pt x="8279" y="17626"/>
                  </a:lnTo>
                  <a:lnTo>
                    <a:pt x="8242" y="17675"/>
                  </a:lnTo>
                  <a:lnTo>
                    <a:pt x="8201" y="17722"/>
                  </a:lnTo>
                  <a:lnTo>
                    <a:pt x="8158" y="17767"/>
                  </a:lnTo>
                  <a:lnTo>
                    <a:pt x="8114" y="17809"/>
                  </a:lnTo>
                  <a:lnTo>
                    <a:pt x="8067" y="17850"/>
                  </a:lnTo>
                  <a:lnTo>
                    <a:pt x="8018" y="17888"/>
                  </a:lnTo>
                  <a:lnTo>
                    <a:pt x="7968" y="17924"/>
                  </a:lnTo>
                  <a:lnTo>
                    <a:pt x="7916" y="17957"/>
                  </a:lnTo>
                  <a:lnTo>
                    <a:pt x="7862" y="17988"/>
                  </a:lnTo>
                  <a:lnTo>
                    <a:pt x="7806" y="18016"/>
                  </a:lnTo>
                  <a:lnTo>
                    <a:pt x="7749" y="18043"/>
                  </a:lnTo>
                  <a:lnTo>
                    <a:pt x="7691" y="18065"/>
                  </a:lnTo>
                  <a:lnTo>
                    <a:pt x="7632" y="18086"/>
                  </a:lnTo>
                  <a:lnTo>
                    <a:pt x="7570" y="18103"/>
                  </a:lnTo>
                  <a:lnTo>
                    <a:pt x="7508" y="18118"/>
                  </a:lnTo>
                  <a:lnTo>
                    <a:pt x="7446" y="18129"/>
                  </a:lnTo>
                  <a:lnTo>
                    <a:pt x="7381" y="18137"/>
                  </a:lnTo>
                  <a:lnTo>
                    <a:pt x="7316" y="18143"/>
                  </a:lnTo>
                  <a:lnTo>
                    <a:pt x="7249" y="18144"/>
                  </a:lnTo>
                  <a:lnTo>
                    <a:pt x="1286" y="18144"/>
                  </a:lnTo>
                  <a:lnTo>
                    <a:pt x="1220" y="18143"/>
                  </a:lnTo>
                  <a:lnTo>
                    <a:pt x="1155" y="18137"/>
                  </a:lnTo>
                  <a:lnTo>
                    <a:pt x="1091" y="18129"/>
                  </a:lnTo>
                  <a:lnTo>
                    <a:pt x="1027" y="18118"/>
                  </a:lnTo>
                  <a:lnTo>
                    <a:pt x="966" y="18103"/>
                  </a:lnTo>
                  <a:lnTo>
                    <a:pt x="904" y="18086"/>
                  </a:lnTo>
                  <a:lnTo>
                    <a:pt x="845" y="18065"/>
                  </a:lnTo>
                  <a:lnTo>
                    <a:pt x="787" y="18043"/>
                  </a:lnTo>
                  <a:lnTo>
                    <a:pt x="730" y="18016"/>
                  </a:lnTo>
                  <a:lnTo>
                    <a:pt x="674" y="17988"/>
                  </a:lnTo>
                  <a:lnTo>
                    <a:pt x="620" y="17957"/>
                  </a:lnTo>
                  <a:lnTo>
                    <a:pt x="569" y="17924"/>
                  </a:lnTo>
                  <a:lnTo>
                    <a:pt x="518" y="17888"/>
                  </a:lnTo>
                  <a:lnTo>
                    <a:pt x="470" y="17850"/>
                  </a:lnTo>
                  <a:lnTo>
                    <a:pt x="423" y="17809"/>
                  </a:lnTo>
                  <a:lnTo>
                    <a:pt x="377" y="17767"/>
                  </a:lnTo>
                  <a:lnTo>
                    <a:pt x="335" y="17722"/>
                  </a:lnTo>
                  <a:lnTo>
                    <a:pt x="295" y="17675"/>
                  </a:lnTo>
                  <a:lnTo>
                    <a:pt x="256" y="17626"/>
                  </a:lnTo>
                  <a:lnTo>
                    <a:pt x="221" y="17576"/>
                  </a:lnTo>
                  <a:lnTo>
                    <a:pt x="187" y="17524"/>
                  </a:lnTo>
                  <a:lnTo>
                    <a:pt x="156" y="17470"/>
                  </a:lnTo>
                  <a:lnTo>
                    <a:pt x="128" y="17414"/>
                  </a:lnTo>
                  <a:lnTo>
                    <a:pt x="101" y="17357"/>
                  </a:lnTo>
                  <a:lnTo>
                    <a:pt x="78" y="17299"/>
                  </a:lnTo>
                  <a:lnTo>
                    <a:pt x="58" y="17240"/>
                  </a:lnTo>
                  <a:lnTo>
                    <a:pt x="41" y="17178"/>
                  </a:lnTo>
                  <a:lnTo>
                    <a:pt x="26" y="17117"/>
                  </a:lnTo>
                  <a:lnTo>
                    <a:pt x="15" y="17054"/>
                  </a:lnTo>
                  <a:lnTo>
                    <a:pt x="7" y="16989"/>
                  </a:lnTo>
                  <a:lnTo>
                    <a:pt x="2" y="16924"/>
                  </a:lnTo>
                  <a:lnTo>
                    <a:pt x="0" y="16858"/>
                  </a:lnTo>
                  <a:lnTo>
                    <a:pt x="0" y="1285"/>
                  </a:lnTo>
                  <a:lnTo>
                    <a:pt x="2" y="1218"/>
                  </a:lnTo>
                  <a:lnTo>
                    <a:pt x="7" y="1153"/>
                  </a:lnTo>
                  <a:lnTo>
                    <a:pt x="15" y="1090"/>
                  </a:lnTo>
                  <a:lnTo>
                    <a:pt x="26" y="1027"/>
                  </a:lnTo>
                  <a:lnTo>
                    <a:pt x="41" y="964"/>
                  </a:lnTo>
                  <a:lnTo>
                    <a:pt x="58" y="904"/>
                  </a:lnTo>
                  <a:lnTo>
                    <a:pt x="78" y="845"/>
                  </a:lnTo>
                  <a:lnTo>
                    <a:pt x="101" y="785"/>
                  </a:lnTo>
                  <a:lnTo>
                    <a:pt x="128" y="728"/>
                  </a:lnTo>
                  <a:lnTo>
                    <a:pt x="156" y="674"/>
                  </a:lnTo>
                  <a:lnTo>
                    <a:pt x="187" y="620"/>
                  </a:lnTo>
                  <a:lnTo>
                    <a:pt x="221" y="567"/>
                  </a:lnTo>
                  <a:lnTo>
                    <a:pt x="256" y="517"/>
                  </a:lnTo>
                  <a:lnTo>
                    <a:pt x="295" y="468"/>
                  </a:lnTo>
                  <a:lnTo>
                    <a:pt x="335" y="422"/>
                  </a:lnTo>
                  <a:lnTo>
                    <a:pt x="377" y="377"/>
                  </a:lnTo>
                  <a:lnTo>
                    <a:pt x="423" y="334"/>
                  </a:lnTo>
                  <a:lnTo>
                    <a:pt x="470" y="294"/>
                  </a:lnTo>
                  <a:lnTo>
                    <a:pt x="518" y="255"/>
                  </a:lnTo>
                  <a:lnTo>
                    <a:pt x="569" y="220"/>
                  </a:lnTo>
                  <a:lnTo>
                    <a:pt x="620" y="186"/>
                  </a:lnTo>
                  <a:lnTo>
                    <a:pt x="674" y="155"/>
                  </a:lnTo>
                  <a:lnTo>
                    <a:pt x="730" y="126"/>
                  </a:lnTo>
                  <a:lnTo>
                    <a:pt x="787" y="101"/>
                  </a:lnTo>
                  <a:lnTo>
                    <a:pt x="845" y="77"/>
                  </a:lnTo>
                  <a:lnTo>
                    <a:pt x="904" y="58"/>
                  </a:lnTo>
                  <a:lnTo>
                    <a:pt x="966" y="40"/>
                  </a:lnTo>
                  <a:lnTo>
                    <a:pt x="1027" y="26"/>
                  </a:lnTo>
                  <a:lnTo>
                    <a:pt x="1091" y="15"/>
                  </a:lnTo>
                  <a:lnTo>
                    <a:pt x="1155" y="5"/>
                  </a:lnTo>
                  <a:lnTo>
                    <a:pt x="1220" y="1"/>
                  </a:lnTo>
                  <a:lnTo>
                    <a:pt x="1286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3" name="Freeform 15"/>
            <p:cNvSpPr>
              <a:spLocks/>
            </p:cNvSpPr>
            <p:nvPr/>
          </p:nvSpPr>
          <p:spPr bwMode="auto">
            <a:xfrm>
              <a:off x="944408" y="363932"/>
              <a:ext cx="2869644" cy="6163047"/>
            </a:xfrm>
            <a:custGeom>
              <a:avLst/>
              <a:gdLst>
                <a:gd name="T0" fmla="*/ 7245 w 8370"/>
                <a:gd name="T1" fmla="*/ 2 h 17971"/>
                <a:gd name="T2" fmla="*/ 7422 w 8370"/>
                <a:gd name="T3" fmla="*/ 24 h 17971"/>
                <a:gd name="T4" fmla="*/ 7591 w 8370"/>
                <a:gd name="T5" fmla="*/ 72 h 17971"/>
                <a:gd name="T6" fmla="*/ 7748 w 8370"/>
                <a:gd name="T7" fmla="*/ 143 h 17971"/>
                <a:gd name="T8" fmla="*/ 7892 w 8370"/>
                <a:gd name="T9" fmla="*/ 236 h 17971"/>
                <a:gd name="T10" fmla="*/ 8022 w 8370"/>
                <a:gd name="T11" fmla="*/ 348 h 17971"/>
                <a:gd name="T12" fmla="*/ 8134 w 8370"/>
                <a:gd name="T13" fmla="*/ 477 h 17971"/>
                <a:gd name="T14" fmla="*/ 8226 w 8370"/>
                <a:gd name="T15" fmla="*/ 622 h 17971"/>
                <a:gd name="T16" fmla="*/ 8298 w 8370"/>
                <a:gd name="T17" fmla="*/ 779 h 17971"/>
                <a:gd name="T18" fmla="*/ 8346 w 8370"/>
                <a:gd name="T19" fmla="*/ 947 h 17971"/>
                <a:gd name="T20" fmla="*/ 8369 w 8370"/>
                <a:gd name="T21" fmla="*/ 1124 h 17971"/>
                <a:gd name="T22" fmla="*/ 8369 w 8370"/>
                <a:gd name="T23" fmla="*/ 16847 h 17971"/>
                <a:gd name="T24" fmla="*/ 8346 w 8370"/>
                <a:gd name="T25" fmla="*/ 17024 h 17971"/>
                <a:gd name="T26" fmla="*/ 8298 w 8370"/>
                <a:gd name="T27" fmla="*/ 17193 h 17971"/>
                <a:gd name="T28" fmla="*/ 8226 w 8370"/>
                <a:gd name="T29" fmla="*/ 17350 h 17971"/>
                <a:gd name="T30" fmla="*/ 8134 w 8370"/>
                <a:gd name="T31" fmla="*/ 17494 h 17971"/>
                <a:gd name="T32" fmla="*/ 8022 w 8370"/>
                <a:gd name="T33" fmla="*/ 17624 h 17971"/>
                <a:gd name="T34" fmla="*/ 7892 w 8370"/>
                <a:gd name="T35" fmla="*/ 17735 h 17971"/>
                <a:gd name="T36" fmla="*/ 7748 w 8370"/>
                <a:gd name="T37" fmla="*/ 17828 h 17971"/>
                <a:gd name="T38" fmla="*/ 7591 w 8370"/>
                <a:gd name="T39" fmla="*/ 17900 h 17971"/>
                <a:gd name="T40" fmla="*/ 7422 w 8370"/>
                <a:gd name="T41" fmla="*/ 17947 h 17971"/>
                <a:gd name="T42" fmla="*/ 7245 w 8370"/>
                <a:gd name="T43" fmla="*/ 17970 h 17971"/>
                <a:gd name="T44" fmla="*/ 1125 w 8370"/>
                <a:gd name="T45" fmla="*/ 17970 h 17971"/>
                <a:gd name="T46" fmla="*/ 948 w 8370"/>
                <a:gd name="T47" fmla="*/ 17947 h 17971"/>
                <a:gd name="T48" fmla="*/ 779 w 8370"/>
                <a:gd name="T49" fmla="*/ 17900 h 17971"/>
                <a:gd name="T50" fmla="*/ 622 w 8370"/>
                <a:gd name="T51" fmla="*/ 17828 h 17971"/>
                <a:gd name="T52" fmla="*/ 478 w 8370"/>
                <a:gd name="T53" fmla="*/ 17735 h 17971"/>
                <a:gd name="T54" fmla="*/ 349 w 8370"/>
                <a:gd name="T55" fmla="*/ 17624 h 17971"/>
                <a:gd name="T56" fmla="*/ 236 w 8370"/>
                <a:gd name="T57" fmla="*/ 17494 h 17971"/>
                <a:gd name="T58" fmla="*/ 144 w 8370"/>
                <a:gd name="T59" fmla="*/ 17350 h 17971"/>
                <a:gd name="T60" fmla="*/ 73 w 8370"/>
                <a:gd name="T61" fmla="*/ 17193 h 17971"/>
                <a:gd name="T62" fmla="*/ 24 w 8370"/>
                <a:gd name="T63" fmla="*/ 17024 h 17971"/>
                <a:gd name="T64" fmla="*/ 2 w 8370"/>
                <a:gd name="T65" fmla="*/ 16847 h 17971"/>
                <a:gd name="T66" fmla="*/ 2 w 8370"/>
                <a:gd name="T67" fmla="*/ 1124 h 17971"/>
                <a:gd name="T68" fmla="*/ 24 w 8370"/>
                <a:gd name="T69" fmla="*/ 947 h 17971"/>
                <a:gd name="T70" fmla="*/ 73 w 8370"/>
                <a:gd name="T71" fmla="*/ 779 h 17971"/>
                <a:gd name="T72" fmla="*/ 144 w 8370"/>
                <a:gd name="T73" fmla="*/ 622 h 17971"/>
                <a:gd name="T74" fmla="*/ 236 w 8370"/>
                <a:gd name="T75" fmla="*/ 477 h 17971"/>
                <a:gd name="T76" fmla="*/ 349 w 8370"/>
                <a:gd name="T77" fmla="*/ 348 h 17971"/>
                <a:gd name="T78" fmla="*/ 478 w 8370"/>
                <a:gd name="T79" fmla="*/ 236 h 17971"/>
                <a:gd name="T80" fmla="*/ 622 w 8370"/>
                <a:gd name="T81" fmla="*/ 143 h 17971"/>
                <a:gd name="T82" fmla="*/ 779 w 8370"/>
                <a:gd name="T83" fmla="*/ 72 h 17971"/>
                <a:gd name="T84" fmla="*/ 948 w 8370"/>
                <a:gd name="T85" fmla="*/ 24 h 17971"/>
                <a:gd name="T86" fmla="*/ 1125 w 8370"/>
                <a:gd name="T87" fmla="*/ 2 h 17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70" h="17971">
                  <a:moveTo>
                    <a:pt x="1186" y="0"/>
                  </a:moveTo>
                  <a:lnTo>
                    <a:pt x="7184" y="0"/>
                  </a:lnTo>
                  <a:lnTo>
                    <a:pt x="7245" y="2"/>
                  </a:lnTo>
                  <a:lnTo>
                    <a:pt x="7304" y="6"/>
                  </a:lnTo>
                  <a:lnTo>
                    <a:pt x="7364" y="14"/>
                  </a:lnTo>
                  <a:lnTo>
                    <a:pt x="7422" y="24"/>
                  </a:lnTo>
                  <a:lnTo>
                    <a:pt x="7480" y="37"/>
                  </a:lnTo>
                  <a:lnTo>
                    <a:pt x="7536" y="53"/>
                  </a:lnTo>
                  <a:lnTo>
                    <a:pt x="7591" y="72"/>
                  </a:lnTo>
                  <a:lnTo>
                    <a:pt x="7644" y="94"/>
                  </a:lnTo>
                  <a:lnTo>
                    <a:pt x="7697" y="117"/>
                  </a:lnTo>
                  <a:lnTo>
                    <a:pt x="7748" y="143"/>
                  </a:lnTo>
                  <a:lnTo>
                    <a:pt x="7798" y="173"/>
                  </a:lnTo>
                  <a:lnTo>
                    <a:pt x="7846" y="203"/>
                  </a:lnTo>
                  <a:lnTo>
                    <a:pt x="7892" y="236"/>
                  </a:lnTo>
                  <a:lnTo>
                    <a:pt x="7937" y="272"/>
                  </a:lnTo>
                  <a:lnTo>
                    <a:pt x="7981" y="308"/>
                  </a:lnTo>
                  <a:lnTo>
                    <a:pt x="8022" y="348"/>
                  </a:lnTo>
                  <a:lnTo>
                    <a:pt x="8061" y="389"/>
                  </a:lnTo>
                  <a:lnTo>
                    <a:pt x="8098" y="432"/>
                  </a:lnTo>
                  <a:lnTo>
                    <a:pt x="8134" y="477"/>
                  </a:lnTo>
                  <a:lnTo>
                    <a:pt x="8167" y="524"/>
                  </a:lnTo>
                  <a:lnTo>
                    <a:pt x="8198" y="572"/>
                  </a:lnTo>
                  <a:lnTo>
                    <a:pt x="8226" y="622"/>
                  </a:lnTo>
                  <a:lnTo>
                    <a:pt x="8252" y="673"/>
                  </a:lnTo>
                  <a:lnTo>
                    <a:pt x="8276" y="725"/>
                  </a:lnTo>
                  <a:lnTo>
                    <a:pt x="8298" y="779"/>
                  </a:lnTo>
                  <a:lnTo>
                    <a:pt x="8316" y="834"/>
                  </a:lnTo>
                  <a:lnTo>
                    <a:pt x="8332" y="890"/>
                  </a:lnTo>
                  <a:lnTo>
                    <a:pt x="8346" y="947"/>
                  </a:lnTo>
                  <a:lnTo>
                    <a:pt x="8356" y="1005"/>
                  </a:lnTo>
                  <a:lnTo>
                    <a:pt x="8364" y="1064"/>
                  </a:lnTo>
                  <a:lnTo>
                    <a:pt x="8369" y="1124"/>
                  </a:lnTo>
                  <a:lnTo>
                    <a:pt x="8370" y="1185"/>
                  </a:lnTo>
                  <a:lnTo>
                    <a:pt x="8370" y="16786"/>
                  </a:lnTo>
                  <a:lnTo>
                    <a:pt x="8369" y="16847"/>
                  </a:lnTo>
                  <a:lnTo>
                    <a:pt x="8364" y="16907"/>
                  </a:lnTo>
                  <a:lnTo>
                    <a:pt x="8356" y="16966"/>
                  </a:lnTo>
                  <a:lnTo>
                    <a:pt x="8346" y="17024"/>
                  </a:lnTo>
                  <a:lnTo>
                    <a:pt x="8332" y="17081"/>
                  </a:lnTo>
                  <a:lnTo>
                    <a:pt x="8316" y="17138"/>
                  </a:lnTo>
                  <a:lnTo>
                    <a:pt x="8298" y="17193"/>
                  </a:lnTo>
                  <a:lnTo>
                    <a:pt x="8276" y="17246"/>
                  </a:lnTo>
                  <a:lnTo>
                    <a:pt x="8252" y="17299"/>
                  </a:lnTo>
                  <a:lnTo>
                    <a:pt x="8226" y="17350"/>
                  </a:lnTo>
                  <a:lnTo>
                    <a:pt x="8198" y="17399"/>
                  </a:lnTo>
                  <a:lnTo>
                    <a:pt x="8167" y="17448"/>
                  </a:lnTo>
                  <a:lnTo>
                    <a:pt x="8134" y="17494"/>
                  </a:lnTo>
                  <a:lnTo>
                    <a:pt x="8098" y="17539"/>
                  </a:lnTo>
                  <a:lnTo>
                    <a:pt x="8061" y="17583"/>
                  </a:lnTo>
                  <a:lnTo>
                    <a:pt x="8022" y="17624"/>
                  </a:lnTo>
                  <a:lnTo>
                    <a:pt x="7981" y="17662"/>
                  </a:lnTo>
                  <a:lnTo>
                    <a:pt x="7937" y="17700"/>
                  </a:lnTo>
                  <a:lnTo>
                    <a:pt x="7892" y="17735"/>
                  </a:lnTo>
                  <a:lnTo>
                    <a:pt x="7846" y="17768"/>
                  </a:lnTo>
                  <a:lnTo>
                    <a:pt x="7798" y="17799"/>
                  </a:lnTo>
                  <a:lnTo>
                    <a:pt x="7748" y="17828"/>
                  </a:lnTo>
                  <a:lnTo>
                    <a:pt x="7697" y="17854"/>
                  </a:lnTo>
                  <a:lnTo>
                    <a:pt x="7644" y="17878"/>
                  </a:lnTo>
                  <a:lnTo>
                    <a:pt x="7591" y="17900"/>
                  </a:lnTo>
                  <a:lnTo>
                    <a:pt x="7536" y="17918"/>
                  </a:lnTo>
                  <a:lnTo>
                    <a:pt x="7480" y="17934"/>
                  </a:lnTo>
                  <a:lnTo>
                    <a:pt x="7422" y="17947"/>
                  </a:lnTo>
                  <a:lnTo>
                    <a:pt x="7364" y="17958"/>
                  </a:lnTo>
                  <a:lnTo>
                    <a:pt x="7304" y="17966"/>
                  </a:lnTo>
                  <a:lnTo>
                    <a:pt x="7245" y="17970"/>
                  </a:lnTo>
                  <a:lnTo>
                    <a:pt x="7184" y="17971"/>
                  </a:lnTo>
                  <a:lnTo>
                    <a:pt x="1186" y="17971"/>
                  </a:lnTo>
                  <a:lnTo>
                    <a:pt x="1125" y="17970"/>
                  </a:lnTo>
                  <a:lnTo>
                    <a:pt x="1065" y="17966"/>
                  </a:lnTo>
                  <a:lnTo>
                    <a:pt x="1006" y="17958"/>
                  </a:lnTo>
                  <a:lnTo>
                    <a:pt x="948" y="17947"/>
                  </a:lnTo>
                  <a:lnTo>
                    <a:pt x="891" y="17934"/>
                  </a:lnTo>
                  <a:lnTo>
                    <a:pt x="835" y="17918"/>
                  </a:lnTo>
                  <a:lnTo>
                    <a:pt x="779" y="17900"/>
                  </a:lnTo>
                  <a:lnTo>
                    <a:pt x="725" y="17878"/>
                  </a:lnTo>
                  <a:lnTo>
                    <a:pt x="673" y="17854"/>
                  </a:lnTo>
                  <a:lnTo>
                    <a:pt x="622" y="17828"/>
                  </a:lnTo>
                  <a:lnTo>
                    <a:pt x="573" y="17799"/>
                  </a:lnTo>
                  <a:lnTo>
                    <a:pt x="525" y="17768"/>
                  </a:lnTo>
                  <a:lnTo>
                    <a:pt x="478" y="17735"/>
                  </a:lnTo>
                  <a:lnTo>
                    <a:pt x="432" y="17700"/>
                  </a:lnTo>
                  <a:lnTo>
                    <a:pt x="390" y="17662"/>
                  </a:lnTo>
                  <a:lnTo>
                    <a:pt x="349" y="17624"/>
                  </a:lnTo>
                  <a:lnTo>
                    <a:pt x="309" y="17583"/>
                  </a:lnTo>
                  <a:lnTo>
                    <a:pt x="272" y="17539"/>
                  </a:lnTo>
                  <a:lnTo>
                    <a:pt x="236" y="17494"/>
                  </a:lnTo>
                  <a:lnTo>
                    <a:pt x="203" y="17448"/>
                  </a:lnTo>
                  <a:lnTo>
                    <a:pt x="172" y="17399"/>
                  </a:lnTo>
                  <a:lnTo>
                    <a:pt x="144" y="17350"/>
                  </a:lnTo>
                  <a:lnTo>
                    <a:pt x="118" y="17299"/>
                  </a:lnTo>
                  <a:lnTo>
                    <a:pt x="94" y="17246"/>
                  </a:lnTo>
                  <a:lnTo>
                    <a:pt x="73" y="17193"/>
                  </a:lnTo>
                  <a:lnTo>
                    <a:pt x="54" y="17138"/>
                  </a:lnTo>
                  <a:lnTo>
                    <a:pt x="38" y="17081"/>
                  </a:lnTo>
                  <a:lnTo>
                    <a:pt x="24" y="17024"/>
                  </a:lnTo>
                  <a:lnTo>
                    <a:pt x="14" y="16966"/>
                  </a:lnTo>
                  <a:lnTo>
                    <a:pt x="7" y="16907"/>
                  </a:lnTo>
                  <a:lnTo>
                    <a:pt x="2" y="16847"/>
                  </a:lnTo>
                  <a:lnTo>
                    <a:pt x="0" y="16786"/>
                  </a:lnTo>
                  <a:lnTo>
                    <a:pt x="0" y="1185"/>
                  </a:lnTo>
                  <a:lnTo>
                    <a:pt x="2" y="1124"/>
                  </a:lnTo>
                  <a:lnTo>
                    <a:pt x="7" y="1064"/>
                  </a:lnTo>
                  <a:lnTo>
                    <a:pt x="14" y="1005"/>
                  </a:lnTo>
                  <a:lnTo>
                    <a:pt x="24" y="947"/>
                  </a:lnTo>
                  <a:lnTo>
                    <a:pt x="38" y="890"/>
                  </a:lnTo>
                  <a:lnTo>
                    <a:pt x="54" y="834"/>
                  </a:lnTo>
                  <a:lnTo>
                    <a:pt x="73" y="779"/>
                  </a:lnTo>
                  <a:lnTo>
                    <a:pt x="94" y="725"/>
                  </a:lnTo>
                  <a:lnTo>
                    <a:pt x="118" y="673"/>
                  </a:lnTo>
                  <a:lnTo>
                    <a:pt x="144" y="622"/>
                  </a:lnTo>
                  <a:lnTo>
                    <a:pt x="172" y="572"/>
                  </a:lnTo>
                  <a:lnTo>
                    <a:pt x="203" y="524"/>
                  </a:lnTo>
                  <a:lnTo>
                    <a:pt x="236" y="477"/>
                  </a:lnTo>
                  <a:lnTo>
                    <a:pt x="272" y="432"/>
                  </a:lnTo>
                  <a:lnTo>
                    <a:pt x="309" y="389"/>
                  </a:lnTo>
                  <a:lnTo>
                    <a:pt x="349" y="348"/>
                  </a:lnTo>
                  <a:lnTo>
                    <a:pt x="390" y="308"/>
                  </a:lnTo>
                  <a:lnTo>
                    <a:pt x="432" y="272"/>
                  </a:lnTo>
                  <a:lnTo>
                    <a:pt x="478" y="236"/>
                  </a:lnTo>
                  <a:lnTo>
                    <a:pt x="525" y="203"/>
                  </a:lnTo>
                  <a:lnTo>
                    <a:pt x="573" y="173"/>
                  </a:lnTo>
                  <a:lnTo>
                    <a:pt x="622" y="143"/>
                  </a:lnTo>
                  <a:lnTo>
                    <a:pt x="673" y="117"/>
                  </a:lnTo>
                  <a:lnTo>
                    <a:pt x="725" y="94"/>
                  </a:lnTo>
                  <a:lnTo>
                    <a:pt x="779" y="72"/>
                  </a:lnTo>
                  <a:lnTo>
                    <a:pt x="835" y="53"/>
                  </a:lnTo>
                  <a:lnTo>
                    <a:pt x="891" y="37"/>
                  </a:lnTo>
                  <a:lnTo>
                    <a:pt x="948" y="24"/>
                  </a:lnTo>
                  <a:lnTo>
                    <a:pt x="1006" y="14"/>
                  </a:lnTo>
                  <a:lnTo>
                    <a:pt x="1065" y="6"/>
                  </a:lnTo>
                  <a:lnTo>
                    <a:pt x="1125" y="2"/>
                  </a:lnTo>
                  <a:lnTo>
                    <a:pt x="1186" y="0"/>
                  </a:lnTo>
                  <a:close/>
                </a:path>
              </a:pathLst>
            </a:custGeom>
            <a:solidFill>
              <a:srgbClr val="686A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4" name="Freeform 16"/>
            <p:cNvSpPr>
              <a:spLocks/>
            </p:cNvSpPr>
            <p:nvPr/>
          </p:nvSpPr>
          <p:spPr bwMode="auto">
            <a:xfrm>
              <a:off x="960864" y="382446"/>
              <a:ext cx="2838787" cy="6126019"/>
            </a:xfrm>
            <a:custGeom>
              <a:avLst/>
              <a:gdLst>
                <a:gd name="T0" fmla="*/ 7193 w 8280"/>
                <a:gd name="T1" fmla="*/ 2 h 17873"/>
                <a:gd name="T2" fmla="*/ 7364 w 8280"/>
                <a:gd name="T3" fmla="*/ 23 h 17873"/>
                <a:gd name="T4" fmla="*/ 7527 w 8280"/>
                <a:gd name="T5" fmla="*/ 70 h 17873"/>
                <a:gd name="T6" fmla="*/ 7679 w 8280"/>
                <a:gd name="T7" fmla="*/ 140 h 17873"/>
                <a:gd name="T8" fmla="*/ 7819 w 8280"/>
                <a:gd name="T9" fmla="*/ 228 h 17873"/>
                <a:gd name="T10" fmla="*/ 7944 w 8280"/>
                <a:gd name="T11" fmla="*/ 337 h 17873"/>
                <a:gd name="T12" fmla="*/ 8052 w 8280"/>
                <a:gd name="T13" fmla="*/ 462 h 17873"/>
                <a:gd name="T14" fmla="*/ 8142 w 8280"/>
                <a:gd name="T15" fmla="*/ 601 h 17873"/>
                <a:gd name="T16" fmla="*/ 8211 w 8280"/>
                <a:gd name="T17" fmla="*/ 754 h 17873"/>
                <a:gd name="T18" fmla="*/ 8257 w 8280"/>
                <a:gd name="T19" fmla="*/ 916 h 17873"/>
                <a:gd name="T20" fmla="*/ 8279 w 8280"/>
                <a:gd name="T21" fmla="*/ 1088 h 17873"/>
                <a:gd name="T22" fmla="*/ 8279 w 8280"/>
                <a:gd name="T23" fmla="*/ 16786 h 17873"/>
                <a:gd name="T24" fmla="*/ 8257 w 8280"/>
                <a:gd name="T25" fmla="*/ 16957 h 17873"/>
                <a:gd name="T26" fmla="*/ 8211 w 8280"/>
                <a:gd name="T27" fmla="*/ 17120 h 17873"/>
                <a:gd name="T28" fmla="*/ 8142 w 8280"/>
                <a:gd name="T29" fmla="*/ 17273 h 17873"/>
                <a:gd name="T30" fmla="*/ 8052 w 8280"/>
                <a:gd name="T31" fmla="*/ 17412 h 17873"/>
                <a:gd name="T32" fmla="*/ 7944 w 8280"/>
                <a:gd name="T33" fmla="*/ 17536 h 17873"/>
                <a:gd name="T34" fmla="*/ 7819 w 8280"/>
                <a:gd name="T35" fmla="*/ 17644 h 17873"/>
                <a:gd name="T36" fmla="*/ 7679 w 8280"/>
                <a:gd name="T37" fmla="*/ 17734 h 17873"/>
                <a:gd name="T38" fmla="*/ 7527 w 8280"/>
                <a:gd name="T39" fmla="*/ 17803 h 17873"/>
                <a:gd name="T40" fmla="*/ 7364 w 8280"/>
                <a:gd name="T41" fmla="*/ 17849 h 17873"/>
                <a:gd name="T42" fmla="*/ 7193 w 8280"/>
                <a:gd name="T43" fmla="*/ 17871 h 17873"/>
                <a:gd name="T44" fmla="*/ 1088 w 8280"/>
                <a:gd name="T45" fmla="*/ 17871 h 17873"/>
                <a:gd name="T46" fmla="*/ 915 w 8280"/>
                <a:gd name="T47" fmla="*/ 17849 h 17873"/>
                <a:gd name="T48" fmla="*/ 752 w 8280"/>
                <a:gd name="T49" fmla="*/ 17803 h 17873"/>
                <a:gd name="T50" fmla="*/ 601 w 8280"/>
                <a:gd name="T51" fmla="*/ 17734 h 17873"/>
                <a:gd name="T52" fmla="*/ 461 w 8280"/>
                <a:gd name="T53" fmla="*/ 17644 h 17873"/>
                <a:gd name="T54" fmla="*/ 336 w 8280"/>
                <a:gd name="T55" fmla="*/ 17536 h 17873"/>
                <a:gd name="T56" fmla="*/ 228 w 8280"/>
                <a:gd name="T57" fmla="*/ 17412 h 17873"/>
                <a:gd name="T58" fmla="*/ 139 w 8280"/>
                <a:gd name="T59" fmla="*/ 17273 h 17873"/>
                <a:gd name="T60" fmla="*/ 69 w 8280"/>
                <a:gd name="T61" fmla="*/ 17120 h 17873"/>
                <a:gd name="T62" fmla="*/ 22 w 8280"/>
                <a:gd name="T63" fmla="*/ 16957 h 17873"/>
                <a:gd name="T64" fmla="*/ 1 w 8280"/>
                <a:gd name="T65" fmla="*/ 16786 h 17873"/>
                <a:gd name="T66" fmla="*/ 1 w 8280"/>
                <a:gd name="T67" fmla="*/ 1088 h 17873"/>
                <a:gd name="T68" fmla="*/ 22 w 8280"/>
                <a:gd name="T69" fmla="*/ 916 h 17873"/>
                <a:gd name="T70" fmla="*/ 69 w 8280"/>
                <a:gd name="T71" fmla="*/ 754 h 17873"/>
                <a:gd name="T72" fmla="*/ 139 w 8280"/>
                <a:gd name="T73" fmla="*/ 601 h 17873"/>
                <a:gd name="T74" fmla="*/ 228 w 8280"/>
                <a:gd name="T75" fmla="*/ 462 h 17873"/>
                <a:gd name="T76" fmla="*/ 336 w 8280"/>
                <a:gd name="T77" fmla="*/ 337 h 17873"/>
                <a:gd name="T78" fmla="*/ 461 w 8280"/>
                <a:gd name="T79" fmla="*/ 228 h 17873"/>
                <a:gd name="T80" fmla="*/ 601 w 8280"/>
                <a:gd name="T81" fmla="*/ 140 h 17873"/>
                <a:gd name="T82" fmla="*/ 752 w 8280"/>
                <a:gd name="T83" fmla="*/ 70 h 17873"/>
                <a:gd name="T84" fmla="*/ 915 w 8280"/>
                <a:gd name="T85" fmla="*/ 23 h 17873"/>
                <a:gd name="T86" fmla="*/ 1088 w 8280"/>
                <a:gd name="T87" fmla="*/ 2 h 17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80" h="17873">
                  <a:moveTo>
                    <a:pt x="1146" y="0"/>
                  </a:moveTo>
                  <a:lnTo>
                    <a:pt x="7134" y="0"/>
                  </a:lnTo>
                  <a:lnTo>
                    <a:pt x="7193" y="2"/>
                  </a:lnTo>
                  <a:lnTo>
                    <a:pt x="7250" y="6"/>
                  </a:lnTo>
                  <a:lnTo>
                    <a:pt x="7308" y="14"/>
                  </a:lnTo>
                  <a:lnTo>
                    <a:pt x="7364" y="23"/>
                  </a:lnTo>
                  <a:lnTo>
                    <a:pt x="7420" y="37"/>
                  </a:lnTo>
                  <a:lnTo>
                    <a:pt x="7474" y="52"/>
                  </a:lnTo>
                  <a:lnTo>
                    <a:pt x="7527" y="70"/>
                  </a:lnTo>
                  <a:lnTo>
                    <a:pt x="7579" y="90"/>
                  </a:lnTo>
                  <a:lnTo>
                    <a:pt x="7630" y="113"/>
                  </a:lnTo>
                  <a:lnTo>
                    <a:pt x="7679" y="140"/>
                  </a:lnTo>
                  <a:lnTo>
                    <a:pt x="7727" y="167"/>
                  </a:lnTo>
                  <a:lnTo>
                    <a:pt x="7774" y="197"/>
                  </a:lnTo>
                  <a:lnTo>
                    <a:pt x="7819" y="228"/>
                  </a:lnTo>
                  <a:lnTo>
                    <a:pt x="7863" y="263"/>
                  </a:lnTo>
                  <a:lnTo>
                    <a:pt x="7904" y="299"/>
                  </a:lnTo>
                  <a:lnTo>
                    <a:pt x="7944" y="337"/>
                  </a:lnTo>
                  <a:lnTo>
                    <a:pt x="7981" y="377"/>
                  </a:lnTo>
                  <a:lnTo>
                    <a:pt x="8018" y="419"/>
                  </a:lnTo>
                  <a:lnTo>
                    <a:pt x="8052" y="462"/>
                  </a:lnTo>
                  <a:lnTo>
                    <a:pt x="8084" y="507"/>
                  </a:lnTo>
                  <a:lnTo>
                    <a:pt x="8114" y="553"/>
                  </a:lnTo>
                  <a:lnTo>
                    <a:pt x="8142" y="601"/>
                  </a:lnTo>
                  <a:lnTo>
                    <a:pt x="8167" y="650"/>
                  </a:lnTo>
                  <a:lnTo>
                    <a:pt x="8190" y="702"/>
                  </a:lnTo>
                  <a:lnTo>
                    <a:pt x="8211" y="754"/>
                  </a:lnTo>
                  <a:lnTo>
                    <a:pt x="8229" y="806"/>
                  </a:lnTo>
                  <a:lnTo>
                    <a:pt x="8245" y="861"/>
                  </a:lnTo>
                  <a:lnTo>
                    <a:pt x="8257" y="916"/>
                  </a:lnTo>
                  <a:lnTo>
                    <a:pt x="8268" y="973"/>
                  </a:lnTo>
                  <a:lnTo>
                    <a:pt x="8275" y="1030"/>
                  </a:lnTo>
                  <a:lnTo>
                    <a:pt x="8279" y="1088"/>
                  </a:lnTo>
                  <a:lnTo>
                    <a:pt x="8280" y="1146"/>
                  </a:lnTo>
                  <a:lnTo>
                    <a:pt x="8280" y="16727"/>
                  </a:lnTo>
                  <a:lnTo>
                    <a:pt x="8279" y="16786"/>
                  </a:lnTo>
                  <a:lnTo>
                    <a:pt x="8275" y="16844"/>
                  </a:lnTo>
                  <a:lnTo>
                    <a:pt x="8268" y="16901"/>
                  </a:lnTo>
                  <a:lnTo>
                    <a:pt x="8257" y="16957"/>
                  </a:lnTo>
                  <a:lnTo>
                    <a:pt x="8245" y="17013"/>
                  </a:lnTo>
                  <a:lnTo>
                    <a:pt x="8229" y="17066"/>
                  </a:lnTo>
                  <a:lnTo>
                    <a:pt x="8211" y="17120"/>
                  </a:lnTo>
                  <a:lnTo>
                    <a:pt x="8190" y="17172"/>
                  </a:lnTo>
                  <a:lnTo>
                    <a:pt x="8167" y="17222"/>
                  </a:lnTo>
                  <a:lnTo>
                    <a:pt x="8142" y="17273"/>
                  </a:lnTo>
                  <a:lnTo>
                    <a:pt x="8114" y="17320"/>
                  </a:lnTo>
                  <a:lnTo>
                    <a:pt x="8084" y="17366"/>
                  </a:lnTo>
                  <a:lnTo>
                    <a:pt x="8052" y="17412"/>
                  </a:lnTo>
                  <a:lnTo>
                    <a:pt x="8018" y="17455"/>
                  </a:lnTo>
                  <a:lnTo>
                    <a:pt x="7981" y="17496"/>
                  </a:lnTo>
                  <a:lnTo>
                    <a:pt x="7944" y="17536"/>
                  </a:lnTo>
                  <a:lnTo>
                    <a:pt x="7904" y="17575"/>
                  </a:lnTo>
                  <a:lnTo>
                    <a:pt x="7863" y="17610"/>
                  </a:lnTo>
                  <a:lnTo>
                    <a:pt x="7819" y="17644"/>
                  </a:lnTo>
                  <a:lnTo>
                    <a:pt x="7774" y="17676"/>
                  </a:lnTo>
                  <a:lnTo>
                    <a:pt x="7727" y="17707"/>
                  </a:lnTo>
                  <a:lnTo>
                    <a:pt x="7679" y="17734"/>
                  </a:lnTo>
                  <a:lnTo>
                    <a:pt x="7630" y="17759"/>
                  </a:lnTo>
                  <a:lnTo>
                    <a:pt x="7579" y="17782"/>
                  </a:lnTo>
                  <a:lnTo>
                    <a:pt x="7527" y="17803"/>
                  </a:lnTo>
                  <a:lnTo>
                    <a:pt x="7474" y="17821"/>
                  </a:lnTo>
                  <a:lnTo>
                    <a:pt x="7420" y="17837"/>
                  </a:lnTo>
                  <a:lnTo>
                    <a:pt x="7364" y="17849"/>
                  </a:lnTo>
                  <a:lnTo>
                    <a:pt x="7308" y="17860"/>
                  </a:lnTo>
                  <a:lnTo>
                    <a:pt x="7250" y="17868"/>
                  </a:lnTo>
                  <a:lnTo>
                    <a:pt x="7193" y="17871"/>
                  </a:lnTo>
                  <a:lnTo>
                    <a:pt x="7134" y="17873"/>
                  </a:lnTo>
                  <a:lnTo>
                    <a:pt x="1146" y="17873"/>
                  </a:lnTo>
                  <a:lnTo>
                    <a:pt x="1088" y="17871"/>
                  </a:lnTo>
                  <a:lnTo>
                    <a:pt x="1029" y="17868"/>
                  </a:lnTo>
                  <a:lnTo>
                    <a:pt x="972" y="17860"/>
                  </a:lnTo>
                  <a:lnTo>
                    <a:pt x="915" y="17849"/>
                  </a:lnTo>
                  <a:lnTo>
                    <a:pt x="861" y="17837"/>
                  </a:lnTo>
                  <a:lnTo>
                    <a:pt x="806" y="17821"/>
                  </a:lnTo>
                  <a:lnTo>
                    <a:pt x="752" y="17803"/>
                  </a:lnTo>
                  <a:lnTo>
                    <a:pt x="701" y="17782"/>
                  </a:lnTo>
                  <a:lnTo>
                    <a:pt x="650" y="17759"/>
                  </a:lnTo>
                  <a:lnTo>
                    <a:pt x="601" y="17734"/>
                  </a:lnTo>
                  <a:lnTo>
                    <a:pt x="553" y="17707"/>
                  </a:lnTo>
                  <a:lnTo>
                    <a:pt x="506" y="17676"/>
                  </a:lnTo>
                  <a:lnTo>
                    <a:pt x="461" y="17644"/>
                  </a:lnTo>
                  <a:lnTo>
                    <a:pt x="418" y="17610"/>
                  </a:lnTo>
                  <a:lnTo>
                    <a:pt x="376" y="17575"/>
                  </a:lnTo>
                  <a:lnTo>
                    <a:pt x="336" y="17536"/>
                  </a:lnTo>
                  <a:lnTo>
                    <a:pt x="298" y="17496"/>
                  </a:lnTo>
                  <a:lnTo>
                    <a:pt x="262" y="17455"/>
                  </a:lnTo>
                  <a:lnTo>
                    <a:pt x="228" y="17412"/>
                  </a:lnTo>
                  <a:lnTo>
                    <a:pt x="196" y="17366"/>
                  </a:lnTo>
                  <a:lnTo>
                    <a:pt x="166" y="17320"/>
                  </a:lnTo>
                  <a:lnTo>
                    <a:pt x="139" y="17273"/>
                  </a:lnTo>
                  <a:lnTo>
                    <a:pt x="112" y="17222"/>
                  </a:lnTo>
                  <a:lnTo>
                    <a:pt x="90" y="17172"/>
                  </a:lnTo>
                  <a:lnTo>
                    <a:pt x="69" y="17120"/>
                  </a:lnTo>
                  <a:lnTo>
                    <a:pt x="51" y="17066"/>
                  </a:lnTo>
                  <a:lnTo>
                    <a:pt x="36" y="17013"/>
                  </a:lnTo>
                  <a:lnTo>
                    <a:pt x="22" y="16957"/>
                  </a:lnTo>
                  <a:lnTo>
                    <a:pt x="13" y="16901"/>
                  </a:lnTo>
                  <a:lnTo>
                    <a:pt x="5" y="16844"/>
                  </a:lnTo>
                  <a:lnTo>
                    <a:pt x="1" y="16786"/>
                  </a:lnTo>
                  <a:lnTo>
                    <a:pt x="0" y="16727"/>
                  </a:lnTo>
                  <a:lnTo>
                    <a:pt x="0" y="1146"/>
                  </a:lnTo>
                  <a:lnTo>
                    <a:pt x="1" y="1088"/>
                  </a:lnTo>
                  <a:lnTo>
                    <a:pt x="5" y="1030"/>
                  </a:lnTo>
                  <a:lnTo>
                    <a:pt x="13" y="973"/>
                  </a:lnTo>
                  <a:lnTo>
                    <a:pt x="22" y="916"/>
                  </a:lnTo>
                  <a:lnTo>
                    <a:pt x="36" y="861"/>
                  </a:lnTo>
                  <a:lnTo>
                    <a:pt x="51" y="806"/>
                  </a:lnTo>
                  <a:lnTo>
                    <a:pt x="69" y="754"/>
                  </a:lnTo>
                  <a:lnTo>
                    <a:pt x="90" y="702"/>
                  </a:lnTo>
                  <a:lnTo>
                    <a:pt x="112" y="650"/>
                  </a:lnTo>
                  <a:lnTo>
                    <a:pt x="139" y="601"/>
                  </a:lnTo>
                  <a:lnTo>
                    <a:pt x="166" y="553"/>
                  </a:lnTo>
                  <a:lnTo>
                    <a:pt x="196" y="507"/>
                  </a:lnTo>
                  <a:lnTo>
                    <a:pt x="228" y="462"/>
                  </a:lnTo>
                  <a:lnTo>
                    <a:pt x="262" y="419"/>
                  </a:lnTo>
                  <a:lnTo>
                    <a:pt x="298" y="377"/>
                  </a:lnTo>
                  <a:lnTo>
                    <a:pt x="336" y="337"/>
                  </a:lnTo>
                  <a:lnTo>
                    <a:pt x="376" y="299"/>
                  </a:lnTo>
                  <a:lnTo>
                    <a:pt x="418" y="263"/>
                  </a:lnTo>
                  <a:lnTo>
                    <a:pt x="461" y="228"/>
                  </a:lnTo>
                  <a:lnTo>
                    <a:pt x="506" y="197"/>
                  </a:lnTo>
                  <a:lnTo>
                    <a:pt x="553" y="167"/>
                  </a:lnTo>
                  <a:lnTo>
                    <a:pt x="601" y="140"/>
                  </a:lnTo>
                  <a:lnTo>
                    <a:pt x="650" y="113"/>
                  </a:lnTo>
                  <a:lnTo>
                    <a:pt x="701" y="90"/>
                  </a:lnTo>
                  <a:lnTo>
                    <a:pt x="752" y="70"/>
                  </a:lnTo>
                  <a:lnTo>
                    <a:pt x="806" y="52"/>
                  </a:lnTo>
                  <a:lnTo>
                    <a:pt x="861" y="37"/>
                  </a:lnTo>
                  <a:lnTo>
                    <a:pt x="915" y="23"/>
                  </a:lnTo>
                  <a:lnTo>
                    <a:pt x="972" y="14"/>
                  </a:lnTo>
                  <a:lnTo>
                    <a:pt x="1029" y="6"/>
                  </a:lnTo>
                  <a:lnTo>
                    <a:pt x="1088" y="2"/>
                  </a:lnTo>
                  <a:lnTo>
                    <a:pt x="1146" y="0"/>
                  </a:lnTo>
                  <a:close/>
                </a:path>
              </a:pathLst>
            </a:custGeom>
            <a:solidFill>
              <a:srgbClr val="999B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" name="Freeform 17"/>
            <p:cNvSpPr>
              <a:spLocks/>
            </p:cNvSpPr>
            <p:nvPr/>
          </p:nvSpPr>
          <p:spPr bwMode="auto">
            <a:xfrm>
              <a:off x="981434" y="403017"/>
              <a:ext cx="2795590" cy="6084878"/>
            </a:xfrm>
            <a:custGeom>
              <a:avLst/>
              <a:gdLst>
                <a:gd name="T0" fmla="*/ 7129 w 8158"/>
                <a:gd name="T1" fmla="*/ 1 h 17752"/>
                <a:gd name="T2" fmla="*/ 7291 w 8158"/>
                <a:gd name="T3" fmla="*/ 22 h 17752"/>
                <a:gd name="T4" fmla="*/ 7445 w 8158"/>
                <a:gd name="T5" fmla="*/ 66 h 17752"/>
                <a:gd name="T6" fmla="*/ 7589 w 8158"/>
                <a:gd name="T7" fmla="*/ 131 h 17752"/>
                <a:gd name="T8" fmla="*/ 7721 w 8158"/>
                <a:gd name="T9" fmla="*/ 215 h 17752"/>
                <a:gd name="T10" fmla="*/ 7839 w 8158"/>
                <a:gd name="T11" fmla="*/ 318 h 17752"/>
                <a:gd name="T12" fmla="*/ 7942 w 8158"/>
                <a:gd name="T13" fmla="*/ 436 h 17752"/>
                <a:gd name="T14" fmla="*/ 8026 w 8158"/>
                <a:gd name="T15" fmla="*/ 568 h 17752"/>
                <a:gd name="T16" fmla="*/ 8092 w 8158"/>
                <a:gd name="T17" fmla="*/ 712 h 17752"/>
                <a:gd name="T18" fmla="*/ 8136 w 8158"/>
                <a:gd name="T19" fmla="*/ 866 h 17752"/>
                <a:gd name="T20" fmla="*/ 8157 w 8158"/>
                <a:gd name="T21" fmla="*/ 1028 h 17752"/>
                <a:gd name="T22" fmla="*/ 8157 w 8158"/>
                <a:gd name="T23" fmla="*/ 16724 h 17752"/>
                <a:gd name="T24" fmla="*/ 8136 w 8158"/>
                <a:gd name="T25" fmla="*/ 16886 h 17752"/>
                <a:gd name="T26" fmla="*/ 8092 w 8158"/>
                <a:gd name="T27" fmla="*/ 17039 h 17752"/>
                <a:gd name="T28" fmla="*/ 8026 w 8158"/>
                <a:gd name="T29" fmla="*/ 17183 h 17752"/>
                <a:gd name="T30" fmla="*/ 7942 w 8158"/>
                <a:gd name="T31" fmla="*/ 17315 h 17752"/>
                <a:gd name="T32" fmla="*/ 7839 w 8158"/>
                <a:gd name="T33" fmla="*/ 17434 h 17752"/>
                <a:gd name="T34" fmla="*/ 7721 w 8158"/>
                <a:gd name="T35" fmla="*/ 17535 h 17752"/>
                <a:gd name="T36" fmla="*/ 7589 w 8158"/>
                <a:gd name="T37" fmla="*/ 17621 h 17752"/>
                <a:gd name="T38" fmla="*/ 7445 w 8158"/>
                <a:gd name="T39" fmla="*/ 17686 h 17752"/>
                <a:gd name="T40" fmla="*/ 7291 w 8158"/>
                <a:gd name="T41" fmla="*/ 17730 h 17752"/>
                <a:gd name="T42" fmla="*/ 7129 w 8158"/>
                <a:gd name="T43" fmla="*/ 17751 h 17752"/>
                <a:gd name="T44" fmla="*/ 1030 w 8158"/>
                <a:gd name="T45" fmla="*/ 17751 h 17752"/>
                <a:gd name="T46" fmla="*/ 867 w 8158"/>
                <a:gd name="T47" fmla="*/ 17730 h 17752"/>
                <a:gd name="T48" fmla="*/ 713 w 8158"/>
                <a:gd name="T49" fmla="*/ 17686 h 17752"/>
                <a:gd name="T50" fmla="*/ 569 w 8158"/>
                <a:gd name="T51" fmla="*/ 17621 h 17752"/>
                <a:gd name="T52" fmla="*/ 437 w 8158"/>
                <a:gd name="T53" fmla="*/ 17535 h 17752"/>
                <a:gd name="T54" fmla="*/ 319 w 8158"/>
                <a:gd name="T55" fmla="*/ 17434 h 17752"/>
                <a:gd name="T56" fmla="*/ 217 w 8158"/>
                <a:gd name="T57" fmla="*/ 17315 h 17752"/>
                <a:gd name="T58" fmla="*/ 131 w 8158"/>
                <a:gd name="T59" fmla="*/ 17183 h 17752"/>
                <a:gd name="T60" fmla="*/ 66 w 8158"/>
                <a:gd name="T61" fmla="*/ 17039 h 17752"/>
                <a:gd name="T62" fmla="*/ 22 w 8158"/>
                <a:gd name="T63" fmla="*/ 16886 h 17752"/>
                <a:gd name="T64" fmla="*/ 1 w 8158"/>
                <a:gd name="T65" fmla="*/ 16724 h 17752"/>
                <a:gd name="T66" fmla="*/ 1 w 8158"/>
                <a:gd name="T67" fmla="*/ 1028 h 17752"/>
                <a:gd name="T68" fmla="*/ 22 w 8158"/>
                <a:gd name="T69" fmla="*/ 866 h 17752"/>
                <a:gd name="T70" fmla="*/ 66 w 8158"/>
                <a:gd name="T71" fmla="*/ 712 h 17752"/>
                <a:gd name="T72" fmla="*/ 131 w 8158"/>
                <a:gd name="T73" fmla="*/ 568 h 17752"/>
                <a:gd name="T74" fmla="*/ 217 w 8158"/>
                <a:gd name="T75" fmla="*/ 436 h 17752"/>
                <a:gd name="T76" fmla="*/ 319 w 8158"/>
                <a:gd name="T77" fmla="*/ 318 h 17752"/>
                <a:gd name="T78" fmla="*/ 437 w 8158"/>
                <a:gd name="T79" fmla="*/ 215 h 17752"/>
                <a:gd name="T80" fmla="*/ 569 w 8158"/>
                <a:gd name="T81" fmla="*/ 131 h 17752"/>
                <a:gd name="T82" fmla="*/ 713 w 8158"/>
                <a:gd name="T83" fmla="*/ 66 h 17752"/>
                <a:gd name="T84" fmla="*/ 867 w 8158"/>
                <a:gd name="T85" fmla="*/ 22 h 17752"/>
                <a:gd name="T86" fmla="*/ 1030 w 8158"/>
                <a:gd name="T87" fmla="*/ 1 h 17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158" h="17752">
                  <a:moveTo>
                    <a:pt x="1085" y="0"/>
                  </a:moveTo>
                  <a:lnTo>
                    <a:pt x="7073" y="0"/>
                  </a:lnTo>
                  <a:lnTo>
                    <a:pt x="7129" y="1"/>
                  </a:lnTo>
                  <a:lnTo>
                    <a:pt x="7184" y="4"/>
                  </a:lnTo>
                  <a:lnTo>
                    <a:pt x="7237" y="12"/>
                  </a:lnTo>
                  <a:lnTo>
                    <a:pt x="7291" y="22"/>
                  </a:lnTo>
                  <a:lnTo>
                    <a:pt x="7343" y="34"/>
                  </a:lnTo>
                  <a:lnTo>
                    <a:pt x="7395" y="49"/>
                  </a:lnTo>
                  <a:lnTo>
                    <a:pt x="7445" y="66"/>
                  </a:lnTo>
                  <a:lnTo>
                    <a:pt x="7494" y="85"/>
                  </a:lnTo>
                  <a:lnTo>
                    <a:pt x="7542" y="107"/>
                  </a:lnTo>
                  <a:lnTo>
                    <a:pt x="7589" y="131"/>
                  </a:lnTo>
                  <a:lnTo>
                    <a:pt x="7634" y="157"/>
                  </a:lnTo>
                  <a:lnTo>
                    <a:pt x="7679" y="186"/>
                  </a:lnTo>
                  <a:lnTo>
                    <a:pt x="7721" y="215"/>
                  </a:lnTo>
                  <a:lnTo>
                    <a:pt x="7762" y="247"/>
                  </a:lnTo>
                  <a:lnTo>
                    <a:pt x="7802" y="281"/>
                  </a:lnTo>
                  <a:lnTo>
                    <a:pt x="7839" y="318"/>
                  </a:lnTo>
                  <a:lnTo>
                    <a:pt x="7875" y="356"/>
                  </a:lnTo>
                  <a:lnTo>
                    <a:pt x="7909" y="395"/>
                  </a:lnTo>
                  <a:lnTo>
                    <a:pt x="7942" y="436"/>
                  </a:lnTo>
                  <a:lnTo>
                    <a:pt x="7972" y="479"/>
                  </a:lnTo>
                  <a:lnTo>
                    <a:pt x="8000" y="523"/>
                  </a:lnTo>
                  <a:lnTo>
                    <a:pt x="8026" y="568"/>
                  </a:lnTo>
                  <a:lnTo>
                    <a:pt x="8050" y="614"/>
                  </a:lnTo>
                  <a:lnTo>
                    <a:pt x="8072" y="662"/>
                  </a:lnTo>
                  <a:lnTo>
                    <a:pt x="8092" y="712"/>
                  </a:lnTo>
                  <a:lnTo>
                    <a:pt x="8109" y="763"/>
                  </a:lnTo>
                  <a:lnTo>
                    <a:pt x="8123" y="814"/>
                  </a:lnTo>
                  <a:lnTo>
                    <a:pt x="8136" y="866"/>
                  </a:lnTo>
                  <a:lnTo>
                    <a:pt x="8145" y="919"/>
                  </a:lnTo>
                  <a:lnTo>
                    <a:pt x="8152" y="973"/>
                  </a:lnTo>
                  <a:lnTo>
                    <a:pt x="8157" y="1028"/>
                  </a:lnTo>
                  <a:lnTo>
                    <a:pt x="8158" y="1084"/>
                  </a:lnTo>
                  <a:lnTo>
                    <a:pt x="8158" y="16668"/>
                  </a:lnTo>
                  <a:lnTo>
                    <a:pt x="8157" y="16724"/>
                  </a:lnTo>
                  <a:lnTo>
                    <a:pt x="8152" y="16778"/>
                  </a:lnTo>
                  <a:lnTo>
                    <a:pt x="8145" y="16832"/>
                  </a:lnTo>
                  <a:lnTo>
                    <a:pt x="8136" y="16886"/>
                  </a:lnTo>
                  <a:lnTo>
                    <a:pt x="8123" y="16938"/>
                  </a:lnTo>
                  <a:lnTo>
                    <a:pt x="8109" y="16989"/>
                  </a:lnTo>
                  <a:lnTo>
                    <a:pt x="8092" y="17039"/>
                  </a:lnTo>
                  <a:lnTo>
                    <a:pt x="8072" y="17088"/>
                  </a:lnTo>
                  <a:lnTo>
                    <a:pt x="8050" y="17136"/>
                  </a:lnTo>
                  <a:lnTo>
                    <a:pt x="8026" y="17183"/>
                  </a:lnTo>
                  <a:lnTo>
                    <a:pt x="8000" y="17229"/>
                  </a:lnTo>
                  <a:lnTo>
                    <a:pt x="7972" y="17273"/>
                  </a:lnTo>
                  <a:lnTo>
                    <a:pt x="7942" y="17315"/>
                  </a:lnTo>
                  <a:lnTo>
                    <a:pt x="7909" y="17356"/>
                  </a:lnTo>
                  <a:lnTo>
                    <a:pt x="7875" y="17396"/>
                  </a:lnTo>
                  <a:lnTo>
                    <a:pt x="7839" y="17434"/>
                  </a:lnTo>
                  <a:lnTo>
                    <a:pt x="7802" y="17469"/>
                  </a:lnTo>
                  <a:lnTo>
                    <a:pt x="7762" y="17503"/>
                  </a:lnTo>
                  <a:lnTo>
                    <a:pt x="7721" y="17535"/>
                  </a:lnTo>
                  <a:lnTo>
                    <a:pt x="7679" y="17566"/>
                  </a:lnTo>
                  <a:lnTo>
                    <a:pt x="7634" y="17595"/>
                  </a:lnTo>
                  <a:lnTo>
                    <a:pt x="7589" y="17621"/>
                  </a:lnTo>
                  <a:lnTo>
                    <a:pt x="7542" y="17645"/>
                  </a:lnTo>
                  <a:lnTo>
                    <a:pt x="7494" y="17666"/>
                  </a:lnTo>
                  <a:lnTo>
                    <a:pt x="7445" y="17686"/>
                  </a:lnTo>
                  <a:lnTo>
                    <a:pt x="7395" y="17703"/>
                  </a:lnTo>
                  <a:lnTo>
                    <a:pt x="7343" y="17718"/>
                  </a:lnTo>
                  <a:lnTo>
                    <a:pt x="7291" y="17730"/>
                  </a:lnTo>
                  <a:lnTo>
                    <a:pt x="7237" y="17739"/>
                  </a:lnTo>
                  <a:lnTo>
                    <a:pt x="7184" y="17746"/>
                  </a:lnTo>
                  <a:lnTo>
                    <a:pt x="7129" y="17751"/>
                  </a:lnTo>
                  <a:lnTo>
                    <a:pt x="7073" y="17752"/>
                  </a:lnTo>
                  <a:lnTo>
                    <a:pt x="1085" y="17752"/>
                  </a:lnTo>
                  <a:lnTo>
                    <a:pt x="1030" y="17751"/>
                  </a:lnTo>
                  <a:lnTo>
                    <a:pt x="974" y="17746"/>
                  </a:lnTo>
                  <a:lnTo>
                    <a:pt x="921" y="17739"/>
                  </a:lnTo>
                  <a:lnTo>
                    <a:pt x="867" y="17730"/>
                  </a:lnTo>
                  <a:lnTo>
                    <a:pt x="815" y="17718"/>
                  </a:lnTo>
                  <a:lnTo>
                    <a:pt x="763" y="17703"/>
                  </a:lnTo>
                  <a:lnTo>
                    <a:pt x="713" y="17686"/>
                  </a:lnTo>
                  <a:lnTo>
                    <a:pt x="664" y="17666"/>
                  </a:lnTo>
                  <a:lnTo>
                    <a:pt x="616" y="17645"/>
                  </a:lnTo>
                  <a:lnTo>
                    <a:pt x="569" y="17621"/>
                  </a:lnTo>
                  <a:lnTo>
                    <a:pt x="524" y="17595"/>
                  </a:lnTo>
                  <a:lnTo>
                    <a:pt x="479" y="17566"/>
                  </a:lnTo>
                  <a:lnTo>
                    <a:pt x="437" y="17535"/>
                  </a:lnTo>
                  <a:lnTo>
                    <a:pt x="396" y="17503"/>
                  </a:lnTo>
                  <a:lnTo>
                    <a:pt x="357" y="17469"/>
                  </a:lnTo>
                  <a:lnTo>
                    <a:pt x="319" y="17434"/>
                  </a:lnTo>
                  <a:lnTo>
                    <a:pt x="283" y="17396"/>
                  </a:lnTo>
                  <a:lnTo>
                    <a:pt x="249" y="17356"/>
                  </a:lnTo>
                  <a:lnTo>
                    <a:pt x="217" y="17315"/>
                  </a:lnTo>
                  <a:lnTo>
                    <a:pt x="186" y="17273"/>
                  </a:lnTo>
                  <a:lnTo>
                    <a:pt x="158" y="17229"/>
                  </a:lnTo>
                  <a:lnTo>
                    <a:pt x="131" y="17183"/>
                  </a:lnTo>
                  <a:lnTo>
                    <a:pt x="107" y="17136"/>
                  </a:lnTo>
                  <a:lnTo>
                    <a:pt x="86" y="17088"/>
                  </a:lnTo>
                  <a:lnTo>
                    <a:pt x="66" y="17039"/>
                  </a:lnTo>
                  <a:lnTo>
                    <a:pt x="49" y="16989"/>
                  </a:lnTo>
                  <a:lnTo>
                    <a:pt x="34" y="16938"/>
                  </a:lnTo>
                  <a:lnTo>
                    <a:pt x="22" y="16886"/>
                  </a:lnTo>
                  <a:lnTo>
                    <a:pt x="13" y="16832"/>
                  </a:lnTo>
                  <a:lnTo>
                    <a:pt x="6" y="16778"/>
                  </a:lnTo>
                  <a:lnTo>
                    <a:pt x="1" y="16724"/>
                  </a:lnTo>
                  <a:lnTo>
                    <a:pt x="0" y="16668"/>
                  </a:lnTo>
                  <a:lnTo>
                    <a:pt x="0" y="1084"/>
                  </a:lnTo>
                  <a:lnTo>
                    <a:pt x="1" y="1028"/>
                  </a:lnTo>
                  <a:lnTo>
                    <a:pt x="6" y="973"/>
                  </a:lnTo>
                  <a:lnTo>
                    <a:pt x="13" y="919"/>
                  </a:lnTo>
                  <a:lnTo>
                    <a:pt x="22" y="866"/>
                  </a:lnTo>
                  <a:lnTo>
                    <a:pt x="34" y="814"/>
                  </a:lnTo>
                  <a:lnTo>
                    <a:pt x="49" y="763"/>
                  </a:lnTo>
                  <a:lnTo>
                    <a:pt x="66" y="712"/>
                  </a:lnTo>
                  <a:lnTo>
                    <a:pt x="86" y="662"/>
                  </a:lnTo>
                  <a:lnTo>
                    <a:pt x="107" y="614"/>
                  </a:lnTo>
                  <a:lnTo>
                    <a:pt x="131" y="568"/>
                  </a:lnTo>
                  <a:lnTo>
                    <a:pt x="158" y="523"/>
                  </a:lnTo>
                  <a:lnTo>
                    <a:pt x="186" y="479"/>
                  </a:lnTo>
                  <a:lnTo>
                    <a:pt x="217" y="436"/>
                  </a:lnTo>
                  <a:lnTo>
                    <a:pt x="249" y="395"/>
                  </a:lnTo>
                  <a:lnTo>
                    <a:pt x="283" y="356"/>
                  </a:lnTo>
                  <a:lnTo>
                    <a:pt x="319" y="318"/>
                  </a:lnTo>
                  <a:lnTo>
                    <a:pt x="357" y="281"/>
                  </a:lnTo>
                  <a:lnTo>
                    <a:pt x="396" y="247"/>
                  </a:lnTo>
                  <a:lnTo>
                    <a:pt x="437" y="215"/>
                  </a:lnTo>
                  <a:lnTo>
                    <a:pt x="479" y="186"/>
                  </a:lnTo>
                  <a:lnTo>
                    <a:pt x="524" y="157"/>
                  </a:lnTo>
                  <a:lnTo>
                    <a:pt x="569" y="131"/>
                  </a:lnTo>
                  <a:lnTo>
                    <a:pt x="616" y="107"/>
                  </a:lnTo>
                  <a:lnTo>
                    <a:pt x="664" y="85"/>
                  </a:lnTo>
                  <a:lnTo>
                    <a:pt x="713" y="66"/>
                  </a:lnTo>
                  <a:lnTo>
                    <a:pt x="763" y="49"/>
                  </a:lnTo>
                  <a:lnTo>
                    <a:pt x="815" y="34"/>
                  </a:lnTo>
                  <a:lnTo>
                    <a:pt x="867" y="22"/>
                  </a:lnTo>
                  <a:lnTo>
                    <a:pt x="921" y="12"/>
                  </a:lnTo>
                  <a:lnTo>
                    <a:pt x="974" y="4"/>
                  </a:lnTo>
                  <a:lnTo>
                    <a:pt x="1030" y="1"/>
                  </a:lnTo>
                  <a:lnTo>
                    <a:pt x="108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6" name="Freeform 18"/>
            <p:cNvSpPr>
              <a:spLocks/>
            </p:cNvSpPr>
            <p:nvPr/>
          </p:nvSpPr>
          <p:spPr bwMode="auto">
            <a:xfrm>
              <a:off x="1098689" y="1188827"/>
              <a:ext cx="2573423" cy="4533831"/>
            </a:xfrm>
            <a:custGeom>
              <a:avLst/>
              <a:gdLst>
                <a:gd name="T0" fmla="*/ 60 w 7504"/>
                <a:gd name="T1" fmla="*/ 0 h 13222"/>
                <a:gd name="T2" fmla="*/ 7444 w 7504"/>
                <a:gd name="T3" fmla="*/ 0 h 13222"/>
                <a:gd name="T4" fmla="*/ 7451 w 7504"/>
                <a:gd name="T5" fmla="*/ 0 h 13222"/>
                <a:gd name="T6" fmla="*/ 7457 w 7504"/>
                <a:gd name="T7" fmla="*/ 1 h 13222"/>
                <a:gd name="T8" fmla="*/ 7462 w 7504"/>
                <a:gd name="T9" fmla="*/ 2 h 13222"/>
                <a:gd name="T10" fmla="*/ 7468 w 7504"/>
                <a:gd name="T11" fmla="*/ 5 h 13222"/>
                <a:gd name="T12" fmla="*/ 7478 w 7504"/>
                <a:gd name="T13" fmla="*/ 10 h 13222"/>
                <a:gd name="T14" fmla="*/ 7486 w 7504"/>
                <a:gd name="T15" fmla="*/ 17 h 13222"/>
                <a:gd name="T16" fmla="*/ 7494 w 7504"/>
                <a:gd name="T17" fmla="*/ 26 h 13222"/>
                <a:gd name="T18" fmla="*/ 7500 w 7504"/>
                <a:gd name="T19" fmla="*/ 36 h 13222"/>
                <a:gd name="T20" fmla="*/ 7501 w 7504"/>
                <a:gd name="T21" fmla="*/ 42 h 13222"/>
                <a:gd name="T22" fmla="*/ 7503 w 7504"/>
                <a:gd name="T23" fmla="*/ 48 h 13222"/>
                <a:gd name="T24" fmla="*/ 7504 w 7504"/>
                <a:gd name="T25" fmla="*/ 54 h 13222"/>
                <a:gd name="T26" fmla="*/ 7504 w 7504"/>
                <a:gd name="T27" fmla="*/ 59 h 13222"/>
                <a:gd name="T28" fmla="*/ 7504 w 7504"/>
                <a:gd name="T29" fmla="*/ 13161 h 13222"/>
                <a:gd name="T30" fmla="*/ 7504 w 7504"/>
                <a:gd name="T31" fmla="*/ 13167 h 13222"/>
                <a:gd name="T32" fmla="*/ 7503 w 7504"/>
                <a:gd name="T33" fmla="*/ 13174 h 13222"/>
                <a:gd name="T34" fmla="*/ 7501 w 7504"/>
                <a:gd name="T35" fmla="*/ 13179 h 13222"/>
                <a:gd name="T36" fmla="*/ 7500 w 7504"/>
                <a:gd name="T37" fmla="*/ 13185 h 13222"/>
                <a:gd name="T38" fmla="*/ 7494 w 7504"/>
                <a:gd name="T39" fmla="*/ 13195 h 13222"/>
                <a:gd name="T40" fmla="*/ 7486 w 7504"/>
                <a:gd name="T41" fmla="*/ 13203 h 13222"/>
                <a:gd name="T42" fmla="*/ 7478 w 7504"/>
                <a:gd name="T43" fmla="*/ 13211 h 13222"/>
                <a:gd name="T44" fmla="*/ 7468 w 7504"/>
                <a:gd name="T45" fmla="*/ 13217 h 13222"/>
                <a:gd name="T46" fmla="*/ 7462 w 7504"/>
                <a:gd name="T47" fmla="*/ 13218 h 13222"/>
                <a:gd name="T48" fmla="*/ 7457 w 7504"/>
                <a:gd name="T49" fmla="*/ 13221 h 13222"/>
                <a:gd name="T50" fmla="*/ 7451 w 7504"/>
                <a:gd name="T51" fmla="*/ 13222 h 13222"/>
                <a:gd name="T52" fmla="*/ 7444 w 7504"/>
                <a:gd name="T53" fmla="*/ 13222 h 13222"/>
                <a:gd name="T54" fmla="*/ 60 w 7504"/>
                <a:gd name="T55" fmla="*/ 13222 h 13222"/>
                <a:gd name="T56" fmla="*/ 54 w 7504"/>
                <a:gd name="T57" fmla="*/ 13222 h 13222"/>
                <a:gd name="T58" fmla="*/ 48 w 7504"/>
                <a:gd name="T59" fmla="*/ 13221 h 13222"/>
                <a:gd name="T60" fmla="*/ 43 w 7504"/>
                <a:gd name="T61" fmla="*/ 13218 h 13222"/>
                <a:gd name="T62" fmla="*/ 37 w 7504"/>
                <a:gd name="T63" fmla="*/ 13217 h 13222"/>
                <a:gd name="T64" fmla="*/ 27 w 7504"/>
                <a:gd name="T65" fmla="*/ 13211 h 13222"/>
                <a:gd name="T66" fmla="*/ 18 w 7504"/>
                <a:gd name="T67" fmla="*/ 13203 h 13222"/>
                <a:gd name="T68" fmla="*/ 11 w 7504"/>
                <a:gd name="T69" fmla="*/ 13195 h 13222"/>
                <a:gd name="T70" fmla="*/ 5 w 7504"/>
                <a:gd name="T71" fmla="*/ 13185 h 13222"/>
                <a:gd name="T72" fmla="*/ 3 w 7504"/>
                <a:gd name="T73" fmla="*/ 13179 h 13222"/>
                <a:gd name="T74" fmla="*/ 2 w 7504"/>
                <a:gd name="T75" fmla="*/ 13174 h 13222"/>
                <a:gd name="T76" fmla="*/ 0 w 7504"/>
                <a:gd name="T77" fmla="*/ 13167 h 13222"/>
                <a:gd name="T78" fmla="*/ 0 w 7504"/>
                <a:gd name="T79" fmla="*/ 13161 h 13222"/>
                <a:gd name="T80" fmla="*/ 0 w 7504"/>
                <a:gd name="T81" fmla="*/ 59 h 13222"/>
                <a:gd name="T82" fmla="*/ 0 w 7504"/>
                <a:gd name="T83" fmla="*/ 54 h 13222"/>
                <a:gd name="T84" fmla="*/ 2 w 7504"/>
                <a:gd name="T85" fmla="*/ 48 h 13222"/>
                <a:gd name="T86" fmla="*/ 3 w 7504"/>
                <a:gd name="T87" fmla="*/ 42 h 13222"/>
                <a:gd name="T88" fmla="*/ 5 w 7504"/>
                <a:gd name="T89" fmla="*/ 36 h 13222"/>
                <a:gd name="T90" fmla="*/ 11 w 7504"/>
                <a:gd name="T91" fmla="*/ 26 h 13222"/>
                <a:gd name="T92" fmla="*/ 18 w 7504"/>
                <a:gd name="T93" fmla="*/ 17 h 13222"/>
                <a:gd name="T94" fmla="*/ 27 w 7504"/>
                <a:gd name="T95" fmla="*/ 10 h 13222"/>
                <a:gd name="T96" fmla="*/ 37 w 7504"/>
                <a:gd name="T97" fmla="*/ 5 h 13222"/>
                <a:gd name="T98" fmla="*/ 43 w 7504"/>
                <a:gd name="T99" fmla="*/ 2 h 13222"/>
                <a:gd name="T100" fmla="*/ 48 w 7504"/>
                <a:gd name="T101" fmla="*/ 1 h 13222"/>
                <a:gd name="T102" fmla="*/ 54 w 7504"/>
                <a:gd name="T103" fmla="*/ 0 h 13222"/>
                <a:gd name="T104" fmla="*/ 60 w 7504"/>
                <a:gd name="T105" fmla="*/ 0 h 13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04" h="13222">
                  <a:moveTo>
                    <a:pt x="60" y="0"/>
                  </a:moveTo>
                  <a:lnTo>
                    <a:pt x="7444" y="0"/>
                  </a:lnTo>
                  <a:lnTo>
                    <a:pt x="7451" y="0"/>
                  </a:lnTo>
                  <a:lnTo>
                    <a:pt x="7457" y="1"/>
                  </a:lnTo>
                  <a:lnTo>
                    <a:pt x="7462" y="2"/>
                  </a:lnTo>
                  <a:lnTo>
                    <a:pt x="7468" y="5"/>
                  </a:lnTo>
                  <a:lnTo>
                    <a:pt x="7478" y="10"/>
                  </a:lnTo>
                  <a:lnTo>
                    <a:pt x="7486" y="17"/>
                  </a:lnTo>
                  <a:lnTo>
                    <a:pt x="7494" y="26"/>
                  </a:lnTo>
                  <a:lnTo>
                    <a:pt x="7500" y="36"/>
                  </a:lnTo>
                  <a:lnTo>
                    <a:pt x="7501" y="42"/>
                  </a:lnTo>
                  <a:lnTo>
                    <a:pt x="7503" y="48"/>
                  </a:lnTo>
                  <a:lnTo>
                    <a:pt x="7504" y="54"/>
                  </a:lnTo>
                  <a:lnTo>
                    <a:pt x="7504" y="59"/>
                  </a:lnTo>
                  <a:lnTo>
                    <a:pt x="7504" y="13161"/>
                  </a:lnTo>
                  <a:lnTo>
                    <a:pt x="7504" y="13167"/>
                  </a:lnTo>
                  <a:lnTo>
                    <a:pt x="7503" y="13174"/>
                  </a:lnTo>
                  <a:lnTo>
                    <a:pt x="7501" y="13179"/>
                  </a:lnTo>
                  <a:lnTo>
                    <a:pt x="7500" y="13185"/>
                  </a:lnTo>
                  <a:lnTo>
                    <a:pt x="7494" y="13195"/>
                  </a:lnTo>
                  <a:lnTo>
                    <a:pt x="7486" y="13203"/>
                  </a:lnTo>
                  <a:lnTo>
                    <a:pt x="7478" y="13211"/>
                  </a:lnTo>
                  <a:lnTo>
                    <a:pt x="7468" y="13217"/>
                  </a:lnTo>
                  <a:lnTo>
                    <a:pt x="7462" y="13218"/>
                  </a:lnTo>
                  <a:lnTo>
                    <a:pt x="7457" y="13221"/>
                  </a:lnTo>
                  <a:lnTo>
                    <a:pt x="7451" y="13222"/>
                  </a:lnTo>
                  <a:lnTo>
                    <a:pt x="7444" y="13222"/>
                  </a:lnTo>
                  <a:lnTo>
                    <a:pt x="60" y="13222"/>
                  </a:lnTo>
                  <a:lnTo>
                    <a:pt x="54" y="13222"/>
                  </a:lnTo>
                  <a:lnTo>
                    <a:pt x="48" y="13221"/>
                  </a:lnTo>
                  <a:lnTo>
                    <a:pt x="43" y="13218"/>
                  </a:lnTo>
                  <a:lnTo>
                    <a:pt x="37" y="13217"/>
                  </a:lnTo>
                  <a:lnTo>
                    <a:pt x="27" y="13211"/>
                  </a:lnTo>
                  <a:lnTo>
                    <a:pt x="18" y="13203"/>
                  </a:lnTo>
                  <a:lnTo>
                    <a:pt x="11" y="13195"/>
                  </a:lnTo>
                  <a:lnTo>
                    <a:pt x="5" y="13185"/>
                  </a:lnTo>
                  <a:lnTo>
                    <a:pt x="3" y="13179"/>
                  </a:lnTo>
                  <a:lnTo>
                    <a:pt x="2" y="13174"/>
                  </a:lnTo>
                  <a:lnTo>
                    <a:pt x="0" y="13167"/>
                  </a:lnTo>
                  <a:lnTo>
                    <a:pt x="0" y="13161"/>
                  </a:lnTo>
                  <a:lnTo>
                    <a:pt x="0" y="59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3" y="42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8" y="1"/>
                  </a:lnTo>
                  <a:lnTo>
                    <a:pt x="54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7" name="Rectangle 19"/>
            <p:cNvSpPr>
              <a:spLocks noChangeArrowheads="1"/>
            </p:cNvSpPr>
            <p:nvPr/>
          </p:nvSpPr>
          <p:spPr bwMode="auto">
            <a:xfrm>
              <a:off x="1133659" y="1225854"/>
              <a:ext cx="2501425" cy="4459775"/>
            </a:xfrm>
            <a:prstGeom prst="rect">
              <a:avLst/>
            </a:prstGeom>
            <a:gradFill>
              <a:gsLst>
                <a:gs pos="0">
                  <a:srgbClr val="0C4068"/>
                </a:gs>
                <a:gs pos="50000">
                  <a:srgbClr val="46B688">
                    <a:alpha val="70000"/>
                  </a:srgbClr>
                </a:gs>
                <a:gs pos="100000">
                  <a:srgbClr val="016AA3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grpSp>
          <p:nvGrpSpPr>
            <p:cNvPr id="248" name="Group 247"/>
            <p:cNvGrpSpPr/>
            <p:nvPr/>
          </p:nvGrpSpPr>
          <p:grpSpPr>
            <a:xfrm>
              <a:off x="1133659" y="1225851"/>
              <a:ext cx="2501425" cy="164567"/>
              <a:chOff x="2252642" y="846142"/>
              <a:chExt cx="1930382" cy="127001"/>
            </a:xfrm>
          </p:grpSpPr>
          <p:sp>
            <p:nvSpPr>
              <p:cNvPr id="262" name="Rectangle 20"/>
              <p:cNvSpPr>
                <a:spLocks noChangeArrowheads="1"/>
              </p:cNvSpPr>
              <p:nvPr/>
            </p:nvSpPr>
            <p:spPr bwMode="auto">
              <a:xfrm>
                <a:off x="2252642" y="846142"/>
                <a:ext cx="1930382" cy="127001"/>
              </a:xfrm>
              <a:prstGeom prst="rect">
                <a:avLst/>
              </a:prstGeom>
              <a:gradFill>
                <a:gsLst>
                  <a:gs pos="100000">
                    <a:schemeClr val="tx1">
                      <a:lumMod val="65000"/>
                      <a:lumOff val="35000"/>
                    </a:schemeClr>
                  </a:gs>
                  <a:gs pos="0">
                    <a:schemeClr val="bg1">
                      <a:lumMod val="5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Rectangle 21"/>
              <p:cNvSpPr>
                <a:spLocks noChangeArrowheads="1"/>
              </p:cNvSpPr>
              <p:nvPr/>
            </p:nvSpPr>
            <p:spPr bwMode="auto">
              <a:xfrm>
                <a:off x="2278042" y="912817"/>
                <a:ext cx="19050" cy="254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Rectangle 22"/>
              <p:cNvSpPr>
                <a:spLocks noChangeArrowheads="1"/>
              </p:cNvSpPr>
              <p:nvPr/>
            </p:nvSpPr>
            <p:spPr bwMode="auto">
              <a:xfrm>
                <a:off x="2301854" y="908054"/>
                <a:ext cx="19050" cy="3016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Rectangle 23"/>
              <p:cNvSpPr>
                <a:spLocks noChangeArrowheads="1"/>
              </p:cNvSpPr>
              <p:nvPr/>
            </p:nvSpPr>
            <p:spPr bwMode="auto">
              <a:xfrm>
                <a:off x="2327254" y="898529"/>
                <a:ext cx="17463" cy="3968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Rectangle 24"/>
              <p:cNvSpPr>
                <a:spLocks noChangeArrowheads="1"/>
              </p:cNvSpPr>
              <p:nvPr/>
            </p:nvSpPr>
            <p:spPr bwMode="auto">
              <a:xfrm>
                <a:off x="2351066" y="890592"/>
                <a:ext cx="17463" cy="476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Rectangle 25"/>
              <p:cNvSpPr>
                <a:spLocks noChangeArrowheads="1"/>
              </p:cNvSpPr>
              <p:nvPr/>
            </p:nvSpPr>
            <p:spPr bwMode="auto">
              <a:xfrm>
                <a:off x="2374878" y="877891"/>
                <a:ext cx="17463" cy="603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267"/>
              <p:cNvSpPr>
                <a:spLocks/>
              </p:cNvSpPr>
              <p:nvPr/>
            </p:nvSpPr>
            <p:spPr bwMode="auto">
              <a:xfrm>
                <a:off x="2432028" y="873129"/>
                <a:ext cx="96837" cy="34925"/>
              </a:xfrm>
              <a:custGeom>
                <a:avLst/>
                <a:gdLst>
                  <a:gd name="T0" fmla="*/ 195 w 362"/>
                  <a:gd name="T1" fmla="*/ 0 h 133"/>
                  <a:gd name="T2" fmla="*/ 222 w 362"/>
                  <a:gd name="T3" fmla="*/ 3 h 133"/>
                  <a:gd name="T4" fmla="*/ 248 w 362"/>
                  <a:gd name="T5" fmla="*/ 10 h 133"/>
                  <a:gd name="T6" fmla="*/ 274 w 362"/>
                  <a:gd name="T7" fmla="*/ 19 h 133"/>
                  <a:gd name="T8" fmla="*/ 296 w 362"/>
                  <a:gd name="T9" fmla="*/ 31 h 133"/>
                  <a:gd name="T10" fmla="*/ 318 w 362"/>
                  <a:gd name="T11" fmla="*/ 46 h 133"/>
                  <a:gd name="T12" fmla="*/ 337 w 362"/>
                  <a:gd name="T13" fmla="*/ 63 h 133"/>
                  <a:gd name="T14" fmla="*/ 356 w 362"/>
                  <a:gd name="T15" fmla="*/ 83 h 133"/>
                  <a:gd name="T16" fmla="*/ 321 w 362"/>
                  <a:gd name="T17" fmla="*/ 133 h 133"/>
                  <a:gd name="T18" fmla="*/ 309 w 362"/>
                  <a:gd name="T19" fmla="*/ 116 h 133"/>
                  <a:gd name="T20" fmla="*/ 295 w 362"/>
                  <a:gd name="T21" fmla="*/ 101 h 133"/>
                  <a:gd name="T22" fmla="*/ 279 w 362"/>
                  <a:gd name="T23" fmla="*/ 87 h 133"/>
                  <a:gd name="T24" fmla="*/ 262 w 362"/>
                  <a:gd name="T25" fmla="*/ 77 h 133"/>
                  <a:gd name="T26" fmla="*/ 244 w 362"/>
                  <a:gd name="T27" fmla="*/ 68 h 133"/>
                  <a:gd name="T28" fmla="*/ 223 w 362"/>
                  <a:gd name="T29" fmla="*/ 61 h 133"/>
                  <a:gd name="T30" fmla="*/ 203 w 362"/>
                  <a:gd name="T31" fmla="*/ 57 h 133"/>
                  <a:gd name="T32" fmla="*/ 181 w 362"/>
                  <a:gd name="T33" fmla="*/ 55 h 133"/>
                  <a:gd name="T34" fmla="*/ 159 w 362"/>
                  <a:gd name="T35" fmla="*/ 57 h 133"/>
                  <a:gd name="T36" fmla="*/ 139 w 362"/>
                  <a:gd name="T37" fmla="*/ 61 h 133"/>
                  <a:gd name="T38" fmla="*/ 118 w 362"/>
                  <a:gd name="T39" fmla="*/ 68 h 133"/>
                  <a:gd name="T40" fmla="*/ 100 w 362"/>
                  <a:gd name="T41" fmla="*/ 77 h 133"/>
                  <a:gd name="T42" fmla="*/ 83 w 362"/>
                  <a:gd name="T43" fmla="*/ 87 h 133"/>
                  <a:gd name="T44" fmla="*/ 67 w 362"/>
                  <a:gd name="T45" fmla="*/ 101 h 133"/>
                  <a:gd name="T46" fmla="*/ 53 w 362"/>
                  <a:gd name="T47" fmla="*/ 116 h 133"/>
                  <a:gd name="T48" fmla="*/ 41 w 362"/>
                  <a:gd name="T49" fmla="*/ 133 h 133"/>
                  <a:gd name="T50" fmla="*/ 7 w 362"/>
                  <a:gd name="T51" fmla="*/ 83 h 133"/>
                  <a:gd name="T52" fmla="*/ 25 w 362"/>
                  <a:gd name="T53" fmla="*/ 63 h 133"/>
                  <a:gd name="T54" fmla="*/ 44 w 362"/>
                  <a:gd name="T55" fmla="*/ 46 h 133"/>
                  <a:gd name="T56" fmla="*/ 66 w 362"/>
                  <a:gd name="T57" fmla="*/ 31 h 133"/>
                  <a:gd name="T58" fmla="*/ 89 w 362"/>
                  <a:gd name="T59" fmla="*/ 19 h 133"/>
                  <a:gd name="T60" fmla="*/ 114 w 362"/>
                  <a:gd name="T61" fmla="*/ 10 h 133"/>
                  <a:gd name="T62" fmla="*/ 140 w 362"/>
                  <a:gd name="T63" fmla="*/ 3 h 133"/>
                  <a:gd name="T64" fmla="*/ 167 w 362"/>
                  <a:gd name="T6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2" h="133">
                    <a:moveTo>
                      <a:pt x="181" y="0"/>
                    </a:moveTo>
                    <a:lnTo>
                      <a:pt x="195" y="0"/>
                    </a:lnTo>
                    <a:lnTo>
                      <a:pt x="208" y="1"/>
                    </a:lnTo>
                    <a:lnTo>
                      <a:pt x="222" y="3"/>
                    </a:lnTo>
                    <a:lnTo>
                      <a:pt x="236" y="5"/>
                    </a:lnTo>
                    <a:lnTo>
                      <a:pt x="248" y="10"/>
                    </a:lnTo>
                    <a:lnTo>
                      <a:pt x="261" y="14"/>
                    </a:lnTo>
                    <a:lnTo>
                      <a:pt x="274" y="19"/>
                    </a:lnTo>
                    <a:lnTo>
                      <a:pt x="285" y="25"/>
                    </a:lnTo>
                    <a:lnTo>
                      <a:pt x="296" y="31"/>
                    </a:lnTo>
                    <a:lnTo>
                      <a:pt x="308" y="38"/>
                    </a:lnTo>
                    <a:lnTo>
                      <a:pt x="318" y="46"/>
                    </a:lnTo>
                    <a:lnTo>
                      <a:pt x="328" y="54"/>
                    </a:lnTo>
                    <a:lnTo>
                      <a:pt x="337" y="63"/>
                    </a:lnTo>
                    <a:lnTo>
                      <a:pt x="346" y="73"/>
                    </a:lnTo>
                    <a:lnTo>
                      <a:pt x="356" y="83"/>
                    </a:lnTo>
                    <a:lnTo>
                      <a:pt x="362" y="93"/>
                    </a:lnTo>
                    <a:lnTo>
                      <a:pt x="321" y="133"/>
                    </a:lnTo>
                    <a:lnTo>
                      <a:pt x="316" y="124"/>
                    </a:lnTo>
                    <a:lnTo>
                      <a:pt x="309" y="116"/>
                    </a:lnTo>
                    <a:lnTo>
                      <a:pt x="302" y="108"/>
                    </a:lnTo>
                    <a:lnTo>
                      <a:pt x="295" y="101"/>
                    </a:lnTo>
                    <a:lnTo>
                      <a:pt x="287" y="94"/>
                    </a:lnTo>
                    <a:lnTo>
                      <a:pt x="279" y="87"/>
                    </a:lnTo>
                    <a:lnTo>
                      <a:pt x="271" y="82"/>
                    </a:lnTo>
                    <a:lnTo>
                      <a:pt x="262" y="77"/>
                    </a:lnTo>
                    <a:lnTo>
                      <a:pt x="253" y="71"/>
                    </a:lnTo>
                    <a:lnTo>
                      <a:pt x="244" y="68"/>
                    </a:lnTo>
                    <a:lnTo>
                      <a:pt x="234" y="65"/>
                    </a:lnTo>
                    <a:lnTo>
                      <a:pt x="223" y="61"/>
                    </a:lnTo>
                    <a:lnTo>
                      <a:pt x="213" y="59"/>
                    </a:lnTo>
                    <a:lnTo>
                      <a:pt x="203" y="57"/>
                    </a:lnTo>
                    <a:lnTo>
                      <a:pt x="193" y="55"/>
                    </a:lnTo>
                    <a:lnTo>
                      <a:pt x="181" y="55"/>
                    </a:lnTo>
                    <a:lnTo>
                      <a:pt x="170" y="55"/>
                    </a:lnTo>
                    <a:lnTo>
                      <a:pt x="159" y="57"/>
                    </a:lnTo>
                    <a:lnTo>
                      <a:pt x="149" y="59"/>
                    </a:lnTo>
                    <a:lnTo>
                      <a:pt x="139" y="61"/>
                    </a:lnTo>
                    <a:lnTo>
                      <a:pt x="129" y="65"/>
                    </a:lnTo>
                    <a:lnTo>
                      <a:pt x="118" y="68"/>
                    </a:lnTo>
                    <a:lnTo>
                      <a:pt x="109" y="71"/>
                    </a:lnTo>
                    <a:lnTo>
                      <a:pt x="100" y="77"/>
                    </a:lnTo>
                    <a:lnTo>
                      <a:pt x="91" y="82"/>
                    </a:lnTo>
                    <a:lnTo>
                      <a:pt x="83" y="87"/>
                    </a:lnTo>
                    <a:lnTo>
                      <a:pt x="75" y="94"/>
                    </a:lnTo>
                    <a:lnTo>
                      <a:pt x="67" y="101"/>
                    </a:lnTo>
                    <a:lnTo>
                      <a:pt x="60" y="108"/>
                    </a:lnTo>
                    <a:lnTo>
                      <a:pt x="53" y="116"/>
                    </a:lnTo>
                    <a:lnTo>
                      <a:pt x="47" y="124"/>
                    </a:lnTo>
                    <a:lnTo>
                      <a:pt x="41" y="133"/>
                    </a:lnTo>
                    <a:lnTo>
                      <a:pt x="0" y="93"/>
                    </a:lnTo>
                    <a:lnTo>
                      <a:pt x="7" y="83"/>
                    </a:lnTo>
                    <a:lnTo>
                      <a:pt x="16" y="73"/>
                    </a:lnTo>
                    <a:lnTo>
                      <a:pt x="25" y="63"/>
                    </a:lnTo>
                    <a:lnTo>
                      <a:pt x="34" y="54"/>
                    </a:lnTo>
                    <a:lnTo>
                      <a:pt x="44" y="46"/>
                    </a:lnTo>
                    <a:lnTo>
                      <a:pt x="55" y="38"/>
                    </a:lnTo>
                    <a:lnTo>
                      <a:pt x="66" y="31"/>
                    </a:lnTo>
                    <a:lnTo>
                      <a:pt x="77" y="25"/>
                    </a:lnTo>
                    <a:lnTo>
                      <a:pt x="89" y="19"/>
                    </a:lnTo>
                    <a:lnTo>
                      <a:pt x="101" y="14"/>
                    </a:lnTo>
                    <a:lnTo>
                      <a:pt x="114" y="10"/>
                    </a:lnTo>
                    <a:lnTo>
                      <a:pt x="126" y="5"/>
                    </a:lnTo>
                    <a:lnTo>
                      <a:pt x="140" y="3"/>
                    </a:lnTo>
                    <a:lnTo>
                      <a:pt x="154" y="1"/>
                    </a:lnTo>
                    <a:lnTo>
                      <a:pt x="167" y="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268"/>
              <p:cNvSpPr>
                <a:spLocks/>
              </p:cNvSpPr>
              <p:nvPr/>
            </p:nvSpPr>
            <p:spPr bwMode="auto">
              <a:xfrm>
                <a:off x="2449489" y="896942"/>
                <a:ext cx="61912" cy="28576"/>
              </a:xfrm>
              <a:custGeom>
                <a:avLst/>
                <a:gdLst>
                  <a:gd name="T0" fmla="*/ 117 w 235"/>
                  <a:gd name="T1" fmla="*/ 0 h 111"/>
                  <a:gd name="T2" fmla="*/ 126 w 235"/>
                  <a:gd name="T3" fmla="*/ 1 h 111"/>
                  <a:gd name="T4" fmla="*/ 135 w 235"/>
                  <a:gd name="T5" fmla="*/ 2 h 111"/>
                  <a:gd name="T6" fmla="*/ 144 w 235"/>
                  <a:gd name="T7" fmla="*/ 3 h 111"/>
                  <a:gd name="T8" fmla="*/ 154 w 235"/>
                  <a:gd name="T9" fmla="*/ 6 h 111"/>
                  <a:gd name="T10" fmla="*/ 162 w 235"/>
                  <a:gd name="T11" fmla="*/ 8 h 111"/>
                  <a:gd name="T12" fmla="*/ 171 w 235"/>
                  <a:gd name="T13" fmla="*/ 11 h 111"/>
                  <a:gd name="T14" fmla="*/ 179 w 235"/>
                  <a:gd name="T15" fmla="*/ 15 h 111"/>
                  <a:gd name="T16" fmla="*/ 186 w 235"/>
                  <a:gd name="T17" fmla="*/ 19 h 111"/>
                  <a:gd name="T18" fmla="*/ 200 w 235"/>
                  <a:gd name="T19" fmla="*/ 30 h 111"/>
                  <a:gd name="T20" fmla="*/ 214 w 235"/>
                  <a:gd name="T21" fmla="*/ 41 h 111"/>
                  <a:gd name="T22" fmla="*/ 225 w 235"/>
                  <a:gd name="T23" fmla="*/ 54 h 111"/>
                  <a:gd name="T24" fmla="*/ 235 w 235"/>
                  <a:gd name="T25" fmla="*/ 68 h 111"/>
                  <a:gd name="T26" fmla="*/ 190 w 235"/>
                  <a:gd name="T27" fmla="*/ 111 h 111"/>
                  <a:gd name="T28" fmla="*/ 186 w 235"/>
                  <a:gd name="T29" fmla="*/ 99 h 111"/>
                  <a:gd name="T30" fmla="*/ 179 w 235"/>
                  <a:gd name="T31" fmla="*/ 90 h 111"/>
                  <a:gd name="T32" fmla="*/ 172 w 235"/>
                  <a:gd name="T33" fmla="*/ 81 h 111"/>
                  <a:gd name="T34" fmla="*/ 163 w 235"/>
                  <a:gd name="T35" fmla="*/ 73 h 111"/>
                  <a:gd name="T36" fmla="*/ 152 w 235"/>
                  <a:gd name="T37" fmla="*/ 67 h 111"/>
                  <a:gd name="T38" fmla="*/ 141 w 235"/>
                  <a:gd name="T39" fmla="*/ 63 h 111"/>
                  <a:gd name="T40" fmla="*/ 130 w 235"/>
                  <a:gd name="T41" fmla="*/ 59 h 111"/>
                  <a:gd name="T42" fmla="*/ 117 w 235"/>
                  <a:gd name="T43" fmla="*/ 59 h 111"/>
                  <a:gd name="T44" fmla="*/ 105 w 235"/>
                  <a:gd name="T45" fmla="*/ 59 h 111"/>
                  <a:gd name="T46" fmla="*/ 93 w 235"/>
                  <a:gd name="T47" fmla="*/ 63 h 111"/>
                  <a:gd name="T48" fmla="*/ 82 w 235"/>
                  <a:gd name="T49" fmla="*/ 67 h 111"/>
                  <a:gd name="T50" fmla="*/ 71 w 235"/>
                  <a:gd name="T51" fmla="*/ 73 h 111"/>
                  <a:gd name="T52" fmla="*/ 64 w 235"/>
                  <a:gd name="T53" fmla="*/ 81 h 111"/>
                  <a:gd name="T54" fmla="*/ 56 w 235"/>
                  <a:gd name="T55" fmla="*/ 90 h 111"/>
                  <a:gd name="T56" fmla="*/ 49 w 235"/>
                  <a:gd name="T57" fmla="*/ 99 h 111"/>
                  <a:gd name="T58" fmla="*/ 44 w 235"/>
                  <a:gd name="T59" fmla="*/ 111 h 111"/>
                  <a:gd name="T60" fmla="*/ 0 w 235"/>
                  <a:gd name="T61" fmla="*/ 68 h 111"/>
                  <a:gd name="T62" fmla="*/ 9 w 235"/>
                  <a:gd name="T63" fmla="*/ 54 h 111"/>
                  <a:gd name="T64" fmla="*/ 20 w 235"/>
                  <a:gd name="T65" fmla="*/ 41 h 111"/>
                  <a:gd name="T66" fmla="*/ 34 w 235"/>
                  <a:gd name="T67" fmla="*/ 30 h 111"/>
                  <a:gd name="T68" fmla="*/ 49 w 235"/>
                  <a:gd name="T69" fmla="*/ 19 h 111"/>
                  <a:gd name="T70" fmla="*/ 56 w 235"/>
                  <a:gd name="T71" fmla="*/ 15 h 111"/>
                  <a:gd name="T72" fmla="*/ 64 w 235"/>
                  <a:gd name="T73" fmla="*/ 11 h 111"/>
                  <a:gd name="T74" fmla="*/ 73 w 235"/>
                  <a:gd name="T75" fmla="*/ 8 h 111"/>
                  <a:gd name="T76" fmla="*/ 81 w 235"/>
                  <a:gd name="T77" fmla="*/ 6 h 111"/>
                  <a:gd name="T78" fmla="*/ 90 w 235"/>
                  <a:gd name="T79" fmla="*/ 3 h 111"/>
                  <a:gd name="T80" fmla="*/ 99 w 235"/>
                  <a:gd name="T81" fmla="*/ 2 h 111"/>
                  <a:gd name="T82" fmla="*/ 108 w 235"/>
                  <a:gd name="T83" fmla="*/ 1 h 111"/>
                  <a:gd name="T84" fmla="*/ 117 w 235"/>
                  <a:gd name="T8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5" h="111">
                    <a:moveTo>
                      <a:pt x="117" y="0"/>
                    </a:moveTo>
                    <a:lnTo>
                      <a:pt x="126" y="1"/>
                    </a:lnTo>
                    <a:lnTo>
                      <a:pt x="135" y="2"/>
                    </a:lnTo>
                    <a:lnTo>
                      <a:pt x="144" y="3"/>
                    </a:lnTo>
                    <a:lnTo>
                      <a:pt x="154" y="6"/>
                    </a:lnTo>
                    <a:lnTo>
                      <a:pt x="162" y="8"/>
                    </a:lnTo>
                    <a:lnTo>
                      <a:pt x="171" y="11"/>
                    </a:lnTo>
                    <a:lnTo>
                      <a:pt x="179" y="15"/>
                    </a:lnTo>
                    <a:lnTo>
                      <a:pt x="186" y="19"/>
                    </a:lnTo>
                    <a:lnTo>
                      <a:pt x="200" y="30"/>
                    </a:lnTo>
                    <a:lnTo>
                      <a:pt x="214" y="41"/>
                    </a:lnTo>
                    <a:lnTo>
                      <a:pt x="225" y="54"/>
                    </a:lnTo>
                    <a:lnTo>
                      <a:pt x="235" y="68"/>
                    </a:lnTo>
                    <a:lnTo>
                      <a:pt x="190" y="111"/>
                    </a:lnTo>
                    <a:lnTo>
                      <a:pt x="186" y="99"/>
                    </a:lnTo>
                    <a:lnTo>
                      <a:pt x="179" y="90"/>
                    </a:lnTo>
                    <a:lnTo>
                      <a:pt x="172" y="81"/>
                    </a:lnTo>
                    <a:lnTo>
                      <a:pt x="163" y="73"/>
                    </a:lnTo>
                    <a:lnTo>
                      <a:pt x="152" y="67"/>
                    </a:lnTo>
                    <a:lnTo>
                      <a:pt x="141" y="63"/>
                    </a:lnTo>
                    <a:lnTo>
                      <a:pt x="130" y="59"/>
                    </a:lnTo>
                    <a:lnTo>
                      <a:pt x="117" y="59"/>
                    </a:lnTo>
                    <a:lnTo>
                      <a:pt x="105" y="59"/>
                    </a:lnTo>
                    <a:lnTo>
                      <a:pt x="93" y="63"/>
                    </a:lnTo>
                    <a:lnTo>
                      <a:pt x="82" y="67"/>
                    </a:lnTo>
                    <a:lnTo>
                      <a:pt x="71" y="73"/>
                    </a:lnTo>
                    <a:lnTo>
                      <a:pt x="64" y="81"/>
                    </a:lnTo>
                    <a:lnTo>
                      <a:pt x="56" y="90"/>
                    </a:lnTo>
                    <a:lnTo>
                      <a:pt x="49" y="99"/>
                    </a:lnTo>
                    <a:lnTo>
                      <a:pt x="44" y="111"/>
                    </a:lnTo>
                    <a:lnTo>
                      <a:pt x="0" y="68"/>
                    </a:lnTo>
                    <a:lnTo>
                      <a:pt x="9" y="54"/>
                    </a:lnTo>
                    <a:lnTo>
                      <a:pt x="20" y="41"/>
                    </a:lnTo>
                    <a:lnTo>
                      <a:pt x="34" y="30"/>
                    </a:lnTo>
                    <a:lnTo>
                      <a:pt x="49" y="19"/>
                    </a:lnTo>
                    <a:lnTo>
                      <a:pt x="56" y="15"/>
                    </a:lnTo>
                    <a:lnTo>
                      <a:pt x="64" y="11"/>
                    </a:lnTo>
                    <a:lnTo>
                      <a:pt x="73" y="8"/>
                    </a:lnTo>
                    <a:lnTo>
                      <a:pt x="81" y="6"/>
                    </a:lnTo>
                    <a:lnTo>
                      <a:pt x="90" y="3"/>
                    </a:lnTo>
                    <a:lnTo>
                      <a:pt x="99" y="2"/>
                    </a:lnTo>
                    <a:lnTo>
                      <a:pt x="108" y="1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269"/>
              <p:cNvSpPr>
                <a:spLocks/>
              </p:cNvSpPr>
              <p:nvPr/>
            </p:nvSpPr>
            <p:spPr bwMode="auto">
              <a:xfrm>
                <a:off x="2468539" y="920755"/>
                <a:ext cx="23813" cy="22225"/>
              </a:xfrm>
              <a:custGeom>
                <a:avLst/>
                <a:gdLst>
                  <a:gd name="T0" fmla="*/ 42 w 84"/>
                  <a:gd name="T1" fmla="*/ 0 h 84"/>
                  <a:gd name="T2" fmla="*/ 51 w 84"/>
                  <a:gd name="T3" fmla="*/ 0 h 84"/>
                  <a:gd name="T4" fmla="*/ 59 w 84"/>
                  <a:gd name="T5" fmla="*/ 2 h 84"/>
                  <a:gd name="T6" fmla="*/ 66 w 84"/>
                  <a:gd name="T7" fmla="*/ 7 h 84"/>
                  <a:gd name="T8" fmla="*/ 72 w 84"/>
                  <a:gd name="T9" fmla="*/ 11 h 84"/>
                  <a:gd name="T10" fmla="*/ 77 w 84"/>
                  <a:gd name="T11" fmla="*/ 18 h 84"/>
                  <a:gd name="T12" fmla="*/ 81 w 84"/>
                  <a:gd name="T13" fmla="*/ 25 h 84"/>
                  <a:gd name="T14" fmla="*/ 83 w 84"/>
                  <a:gd name="T15" fmla="*/ 33 h 84"/>
                  <a:gd name="T16" fmla="*/ 84 w 84"/>
                  <a:gd name="T17" fmla="*/ 42 h 84"/>
                  <a:gd name="T18" fmla="*/ 84 w 84"/>
                  <a:gd name="T19" fmla="*/ 43 h 84"/>
                  <a:gd name="T20" fmla="*/ 84 w 84"/>
                  <a:gd name="T21" fmla="*/ 44 h 84"/>
                  <a:gd name="T22" fmla="*/ 42 w 84"/>
                  <a:gd name="T23" fmla="*/ 84 h 84"/>
                  <a:gd name="T24" fmla="*/ 0 w 84"/>
                  <a:gd name="T25" fmla="*/ 44 h 84"/>
                  <a:gd name="T26" fmla="*/ 0 w 84"/>
                  <a:gd name="T27" fmla="*/ 43 h 84"/>
                  <a:gd name="T28" fmla="*/ 0 w 84"/>
                  <a:gd name="T29" fmla="*/ 42 h 84"/>
                  <a:gd name="T30" fmla="*/ 1 w 84"/>
                  <a:gd name="T31" fmla="*/ 33 h 84"/>
                  <a:gd name="T32" fmla="*/ 3 w 84"/>
                  <a:gd name="T33" fmla="*/ 25 h 84"/>
                  <a:gd name="T34" fmla="*/ 7 w 84"/>
                  <a:gd name="T35" fmla="*/ 18 h 84"/>
                  <a:gd name="T36" fmla="*/ 12 w 84"/>
                  <a:gd name="T37" fmla="*/ 11 h 84"/>
                  <a:gd name="T38" fmla="*/ 18 w 84"/>
                  <a:gd name="T39" fmla="*/ 7 h 84"/>
                  <a:gd name="T40" fmla="*/ 26 w 84"/>
                  <a:gd name="T41" fmla="*/ 2 h 84"/>
                  <a:gd name="T42" fmla="*/ 34 w 84"/>
                  <a:gd name="T43" fmla="*/ 0 h 84"/>
                  <a:gd name="T44" fmla="*/ 42 w 84"/>
                  <a:gd name="T4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51" y="0"/>
                    </a:lnTo>
                    <a:lnTo>
                      <a:pt x="59" y="2"/>
                    </a:lnTo>
                    <a:lnTo>
                      <a:pt x="66" y="7"/>
                    </a:lnTo>
                    <a:lnTo>
                      <a:pt x="72" y="11"/>
                    </a:lnTo>
                    <a:lnTo>
                      <a:pt x="77" y="18"/>
                    </a:lnTo>
                    <a:lnTo>
                      <a:pt x="81" y="25"/>
                    </a:lnTo>
                    <a:lnTo>
                      <a:pt x="83" y="33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42" y="84"/>
                    </a:lnTo>
                    <a:lnTo>
                      <a:pt x="0" y="44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33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270"/>
              <p:cNvSpPr>
                <a:spLocks noEditPoints="1"/>
              </p:cNvSpPr>
              <p:nvPr/>
            </p:nvSpPr>
            <p:spPr bwMode="auto">
              <a:xfrm>
                <a:off x="4035385" y="876304"/>
                <a:ext cx="130173" cy="61913"/>
              </a:xfrm>
              <a:custGeom>
                <a:avLst/>
                <a:gdLst>
                  <a:gd name="T0" fmla="*/ 418 w 492"/>
                  <a:gd name="T1" fmla="*/ 0 h 235"/>
                  <a:gd name="T2" fmla="*/ 430 w 492"/>
                  <a:gd name="T3" fmla="*/ 2 h 235"/>
                  <a:gd name="T4" fmla="*/ 440 w 492"/>
                  <a:gd name="T5" fmla="*/ 9 h 235"/>
                  <a:gd name="T6" fmla="*/ 446 w 492"/>
                  <a:gd name="T7" fmla="*/ 19 h 235"/>
                  <a:gd name="T8" fmla="*/ 448 w 492"/>
                  <a:gd name="T9" fmla="*/ 31 h 235"/>
                  <a:gd name="T10" fmla="*/ 470 w 492"/>
                  <a:gd name="T11" fmla="*/ 58 h 235"/>
                  <a:gd name="T12" fmla="*/ 479 w 492"/>
                  <a:gd name="T13" fmla="*/ 60 h 235"/>
                  <a:gd name="T14" fmla="*/ 487 w 492"/>
                  <a:gd name="T15" fmla="*/ 65 h 235"/>
                  <a:gd name="T16" fmla="*/ 491 w 492"/>
                  <a:gd name="T17" fmla="*/ 73 h 235"/>
                  <a:gd name="T18" fmla="*/ 492 w 492"/>
                  <a:gd name="T19" fmla="*/ 82 h 235"/>
                  <a:gd name="T20" fmla="*/ 492 w 492"/>
                  <a:gd name="T21" fmla="*/ 158 h 235"/>
                  <a:gd name="T22" fmla="*/ 489 w 492"/>
                  <a:gd name="T23" fmla="*/ 166 h 235"/>
                  <a:gd name="T24" fmla="*/ 483 w 492"/>
                  <a:gd name="T25" fmla="*/ 173 h 235"/>
                  <a:gd name="T26" fmla="*/ 474 w 492"/>
                  <a:gd name="T27" fmla="*/ 177 h 235"/>
                  <a:gd name="T28" fmla="*/ 448 w 492"/>
                  <a:gd name="T29" fmla="*/ 177 h 235"/>
                  <a:gd name="T30" fmla="*/ 448 w 492"/>
                  <a:gd name="T31" fmla="*/ 211 h 235"/>
                  <a:gd name="T32" fmla="*/ 443 w 492"/>
                  <a:gd name="T33" fmla="*/ 222 h 235"/>
                  <a:gd name="T34" fmla="*/ 435 w 492"/>
                  <a:gd name="T35" fmla="*/ 230 h 235"/>
                  <a:gd name="T36" fmla="*/ 424 w 492"/>
                  <a:gd name="T37" fmla="*/ 235 h 235"/>
                  <a:gd name="T38" fmla="*/ 29 w 492"/>
                  <a:gd name="T39" fmla="*/ 235 h 235"/>
                  <a:gd name="T40" fmla="*/ 18 w 492"/>
                  <a:gd name="T41" fmla="*/ 233 h 235"/>
                  <a:gd name="T42" fmla="*/ 9 w 492"/>
                  <a:gd name="T43" fmla="*/ 227 h 235"/>
                  <a:gd name="T44" fmla="*/ 2 w 492"/>
                  <a:gd name="T45" fmla="*/ 217 h 235"/>
                  <a:gd name="T46" fmla="*/ 0 w 492"/>
                  <a:gd name="T47" fmla="*/ 205 h 235"/>
                  <a:gd name="T48" fmla="*/ 1 w 492"/>
                  <a:gd name="T49" fmla="*/ 24 h 235"/>
                  <a:gd name="T50" fmla="*/ 5 w 492"/>
                  <a:gd name="T51" fmla="*/ 14 h 235"/>
                  <a:gd name="T52" fmla="*/ 13 w 492"/>
                  <a:gd name="T53" fmla="*/ 6 h 235"/>
                  <a:gd name="T54" fmla="*/ 24 w 492"/>
                  <a:gd name="T55" fmla="*/ 1 h 235"/>
                  <a:gd name="T56" fmla="*/ 448 w 492"/>
                  <a:gd name="T57" fmla="*/ 93 h 235"/>
                  <a:gd name="T58" fmla="*/ 457 w 492"/>
                  <a:gd name="T59" fmla="*/ 141 h 235"/>
                  <a:gd name="T60" fmla="*/ 448 w 492"/>
                  <a:gd name="T61" fmla="*/ 93 h 235"/>
                  <a:gd name="T62" fmla="*/ 35 w 492"/>
                  <a:gd name="T63" fmla="*/ 35 h 235"/>
                  <a:gd name="T64" fmla="*/ 413 w 492"/>
                  <a:gd name="T65" fmla="*/ 199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2" h="235">
                    <a:moveTo>
                      <a:pt x="29" y="0"/>
                    </a:moveTo>
                    <a:lnTo>
                      <a:pt x="418" y="0"/>
                    </a:lnTo>
                    <a:lnTo>
                      <a:pt x="424" y="1"/>
                    </a:lnTo>
                    <a:lnTo>
                      <a:pt x="430" y="2"/>
                    </a:lnTo>
                    <a:lnTo>
                      <a:pt x="435" y="6"/>
                    </a:lnTo>
                    <a:lnTo>
                      <a:pt x="440" y="9"/>
                    </a:lnTo>
                    <a:lnTo>
                      <a:pt x="443" y="14"/>
                    </a:lnTo>
                    <a:lnTo>
                      <a:pt x="446" y="19"/>
                    </a:lnTo>
                    <a:lnTo>
                      <a:pt x="448" y="24"/>
                    </a:lnTo>
                    <a:lnTo>
                      <a:pt x="448" y="31"/>
                    </a:lnTo>
                    <a:lnTo>
                      <a:pt x="448" y="58"/>
                    </a:lnTo>
                    <a:lnTo>
                      <a:pt x="470" y="58"/>
                    </a:lnTo>
                    <a:lnTo>
                      <a:pt x="474" y="59"/>
                    </a:lnTo>
                    <a:lnTo>
                      <a:pt x="479" y="60"/>
                    </a:lnTo>
                    <a:lnTo>
                      <a:pt x="483" y="63"/>
                    </a:lnTo>
                    <a:lnTo>
                      <a:pt x="487" y="65"/>
                    </a:lnTo>
                    <a:lnTo>
                      <a:pt x="489" y="68"/>
                    </a:lnTo>
                    <a:lnTo>
                      <a:pt x="491" y="73"/>
                    </a:lnTo>
                    <a:lnTo>
                      <a:pt x="492" y="76"/>
                    </a:lnTo>
                    <a:lnTo>
                      <a:pt x="492" y="82"/>
                    </a:lnTo>
                    <a:lnTo>
                      <a:pt x="492" y="154"/>
                    </a:lnTo>
                    <a:lnTo>
                      <a:pt x="492" y="158"/>
                    </a:lnTo>
                    <a:lnTo>
                      <a:pt x="491" y="163"/>
                    </a:lnTo>
                    <a:lnTo>
                      <a:pt x="489" y="166"/>
                    </a:lnTo>
                    <a:lnTo>
                      <a:pt x="487" y="170"/>
                    </a:lnTo>
                    <a:lnTo>
                      <a:pt x="483" y="173"/>
                    </a:lnTo>
                    <a:lnTo>
                      <a:pt x="479" y="176"/>
                    </a:lnTo>
                    <a:lnTo>
                      <a:pt x="474" y="177"/>
                    </a:lnTo>
                    <a:lnTo>
                      <a:pt x="470" y="177"/>
                    </a:lnTo>
                    <a:lnTo>
                      <a:pt x="448" y="177"/>
                    </a:lnTo>
                    <a:lnTo>
                      <a:pt x="448" y="205"/>
                    </a:lnTo>
                    <a:lnTo>
                      <a:pt x="448" y="211"/>
                    </a:lnTo>
                    <a:lnTo>
                      <a:pt x="446" y="217"/>
                    </a:lnTo>
                    <a:lnTo>
                      <a:pt x="443" y="222"/>
                    </a:lnTo>
                    <a:lnTo>
                      <a:pt x="440" y="227"/>
                    </a:lnTo>
                    <a:lnTo>
                      <a:pt x="435" y="230"/>
                    </a:lnTo>
                    <a:lnTo>
                      <a:pt x="430" y="233"/>
                    </a:lnTo>
                    <a:lnTo>
                      <a:pt x="424" y="235"/>
                    </a:lnTo>
                    <a:lnTo>
                      <a:pt x="418" y="235"/>
                    </a:lnTo>
                    <a:lnTo>
                      <a:pt x="29" y="235"/>
                    </a:lnTo>
                    <a:lnTo>
                      <a:pt x="24" y="235"/>
                    </a:lnTo>
                    <a:lnTo>
                      <a:pt x="18" y="233"/>
                    </a:lnTo>
                    <a:lnTo>
                      <a:pt x="13" y="230"/>
                    </a:lnTo>
                    <a:lnTo>
                      <a:pt x="9" y="227"/>
                    </a:lnTo>
                    <a:lnTo>
                      <a:pt x="5" y="222"/>
                    </a:lnTo>
                    <a:lnTo>
                      <a:pt x="2" y="217"/>
                    </a:lnTo>
                    <a:lnTo>
                      <a:pt x="1" y="211"/>
                    </a:lnTo>
                    <a:lnTo>
                      <a:pt x="0" y="205"/>
                    </a:lnTo>
                    <a:lnTo>
                      <a:pt x="0" y="31"/>
                    </a:lnTo>
                    <a:lnTo>
                      <a:pt x="1" y="24"/>
                    </a:lnTo>
                    <a:lnTo>
                      <a:pt x="2" y="19"/>
                    </a:lnTo>
                    <a:lnTo>
                      <a:pt x="5" y="14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8" y="2"/>
                    </a:lnTo>
                    <a:lnTo>
                      <a:pt x="24" y="1"/>
                    </a:lnTo>
                    <a:lnTo>
                      <a:pt x="29" y="0"/>
                    </a:lnTo>
                    <a:close/>
                    <a:moveTo>
                      <a:pt x="448" y="93"/>
                    </a:moveTo>
                    <a:lnTo>
                      <a:pt x="448" y="141"/>
                    </a:lnTo>
                    <a:lnTo>
                      <a:pt x="457" y="141"/>
                    </a:lnTo>
                    <a:lnTo>
                      <a:pt x="457" y="93"/>
                    </a:lnTo>
                    <a:lnTo>
                      <a:pt x="448" y="93"/>
                    </a:lnTo>
                    <a:close/>
                    <a:moveTo>
                      <a:pt x="413" y="35"/>
                    </a:moveTo>
                    <a:lnTo>
                      <a:pt x="35" y="35"/>
                    </a:lnTo>
                    <a:lnTo>
                      <a:pt x="35" y="199"/>
                    </a:lnTo>
                    <a:lnTo>
                      <a:pt x="413" y="199"/>
                    </a:lnTo>
                    <a:lnTo>
                      <a:pt x="413" y="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Rectangle 271"/>
              <p:cNvSpPr>
                <a:spLocks noChangeArrowheads="1"/>
              </p:cNvSpPr>
              <p:nvPr/>
            </p:nvSpPr>
            <p:spPr bwMode="auto">
              <a:xfrm>
                <a:off x="4051266" y="890592"/>
                <a:ext cx="87312" cy="349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272"/>
              <p:cNvSpPr>
                <a:spLocks noEditPoints="1"/>
              </p:cNvSpPr>
              <p:nvPr/>
            </p:nvSpPr>
            <p:spPr bwMode="auto">
              <a:xfrm>
                <a:off x="3944937" y="862013"/>
                <a:ext cx="52388" cy="96838"/>
              </a:xfrm>
              <a:custGeom>
                <a:avLst/>
                <a:gdLst>
                  <a:gd name="T0" fmla="*/ 25 w 200"/>
                  <a:gd name="T1" fmla="*/ 73 h 367"/>
                  <a:gd name="T2" fmla="*/ 79 w 200"/>
                  <a:gd name="T3" fmla="*/ 127 h 367"/>
                  <a:gd name="T4" fmla="*/ 80 w 200"/>
                  <a:gd name="T5" fmla="*/ 0 h 367"/>
                  <a:gd name="T6" fmla="*/ 184 w 200"/>
                  <a:gd name="T7" fmla="*/ 102 h 367"/>
                  <a:gd name="T8" fmla="*/ 196 w 200"/>
                  <a:gd name="T9" fmla="*/ 114 h 367"/>
                  <a:gd name="T10" fmla="*/ 184 w 200"/>
                  <a:gd name="T11" fmla="*/ 127 h 367"/>
                  <a:gd name="T12" fmla="*/ 131 w 200"/>
                  <a:gd name="T13" fmla="*/ 179 h 367"/>
                  <a:gd name="T14" fmla="*/ 187 w 200"/>
                  <a:gd name="T15" fmla="*/ 235 h 367"/>
                  <a:gd name="T16" fmla="*/ 200 w 200"/>
                  <a:gd name="T17" fmla="*/ 246 h 367"/>
                  <a:gd name="T18" fmla="*/ 187 w 200"/>
                  <a:gd name="T19" fmla="*/ 259 h 367"/>
                  <a:gd name="T20" fmla="*/ 110 w 200"/>
                  <a:gd name="T21" fmla="*/ 338 h 367"/>
                  <a:gd name="T22" fmla="*/ 79 w 200"/>
                  <a:gd name="T23" fmla="*/ 367 h 367"/>
                  <a:gd name="T24" fmla="*/ 79 w 200"/>
                  <a:gd name="T25" fmla="*/ 325 h 367"/>
                  <a:gd name="T26" fmla="*/ 79 w 200"/>
                  <a:gd name="T27" fmla="*/ 232 h 367"/>
                  <a:gd name="T28" fmla="*/ 29 w 200"/>
                  <a:gd name="T29" fmla="*/ 283 h 367"/>
                  <a:gd name="T30" fmla="*/ 4 w 200"/>
                  <a:gd name="T31" fmla="*/ 258 h 367"/>
                  <a:gd name="T32" fmla="*/ 79 w 200"/>
                  <a:gd name="T33" fmla="*/ 182 h 367"/>
                  <a:gd name="T34" fmla="*/ 79 w 200"/>
                  <a:gd name="T35" fmla="*/ 177 h 367"/>
                  <a:gd name="T36" fmla="*/ 0 w 200"/>
                  <a:gd name="T37" fmla="*/ 98 h 367"/>
                  <a:gd name="T38" fmla="*/ 25 w 200"/>
                  <a:gd name="T39" fmla="*/ 73 h 367"/>
                  <a:gd name="T40" fmla="*/ 150 w 200"/>
                  <a:gd name="T41" fmla="*/ 246 h 367"/>
                  <a:gd name="T42" fmla="*/ 114 w 200"/>
                  <a:gd name="T43" fmla="*/ 212 h 367"/>
                  <a:gd name="T44" fmla="*/ 114 w 200"/>
                  <a:gd name="T45" fmla="*/ 282 h 367"/>
                  <a:gd name="T46" fmla="*/ 150 w 200"/>
                  <a:gd name="T47" fmla="*/ 246 h 367"/>
                  <a:gd name="T48" fmla="*/ 114 w 200"/>
                  <a:gd name="T49" fmla="*/ 82 h 367"/>
                  <a:gd name="T50" fmla="*/ 114 w 200"/>
                  <a:gd name="T51" fmla="*/ 146 h 367"/>
                  <a:gd name="T52" fmla="*/ 146 w 200"/>
                  <a:gd name="T53" fmla="*/ 114 h 367"/>
                  <a:gd name="T54" fmla="*/ 114 w 200"/>
                  <a:gd name="T55" fmla="*/ 8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0" h="367">
                    <a:moveTo>
                      <a:pt x="25" y="73"/>
                    </a:moveTo>
                    <a:lnTo>
                      <a:pt x="79" y="127"/>
                    </a:lnTo>
                    <a:lnTo>
                      <a:pt x="80" y="0"/>
                    </a:lnTo>
                    <a:lnTo>
                      <a:pt x="184" y="102"/>
                    </a:lnTo>
                    <a:lnTo>
                      <a:pt x="196" y="114"/>
                    </a:lnTo>
                    <a:lnTo>
                      <a:pt x="184" y="127"/>
                    </a:lnTo>
                    <a:lnTo>
                      <a:pt x="131" y="179"/>
                    </a:lnTo>
                    <a:lnTo>
                      <a:pt x="187" y="235"/>
                    </a:lnTo>
                    <a:lnTo>
                      <a:pt x="200" y="246"/>
                    </a:lnTo>
                    <a:lnTo>
                      <a:pt x="187" y="259"/>
                    </a:lnTo>
                    <a:lnTo>
                      <a:pt x="110" y="338"/>
                    </a:lnTo>
                    <a:lnTo>
                      <a:pt x="79" y="367"/>
                    </a:lnTo>
                    <a:lnTo>
                      <a:pt x="79" y="325"/>
                    </a:lnTo>
                    <a:lnTo>
                      <a:pt x="79" y="232"/>
                    </a:lnTo>
                    <a:lnTo>
                      <a:pt x="29" y="283"/>
                    </a:lnTo>
                    <a:lnTo>
                      <a:pt x="4" y="258"/>
                    </a:lnTo>
                    <a:lnTo>
                      <a:pt x="79" y="182"/>
                    </a:lnTo>
                    <a:lnTo>
                      <a:pt x="79" y="177"/>
                    </a:lnTo>
                    <a:lnTo>
                      <a:pt x="0" y="98"/>
                    </a:lnTo>
                    <a:lnTo>
                      <a:pt x="25" y="73"/>
                    </a:lnTo>
                    <a:close/>
                    <a:moveTo>
                      <a:pt x="150" y="246"/>
                    </a:moveTo>
                    <a:lnTo>
                      <a:pt x="114" y="212"/>
                    </a:lnTo>
                    <a:lnTo>
                      <a:pt x="114" y="282"/>
                    </a:lnTo>
                    <a:lnTo>
                      <a:pt x="150" y="246"/>
                    </a:lnTo>
                    <a:close/>
                    <a:moveTo>
                      <a:pt x="114" y="82"/>
                    </a:moveTo>
                    <a:lnTo>
                      <a:pt x="114" y="146"/>
                    </a:lnTo>
                    <a:lnTo>
                      <a:pt x="146" y="114"/>
                    </a:lnTo>
                    <a:lnTo>
                      <a:pt x="114" y="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9" name="Group 248"/>
            <p:cNvGrpSpPr/>
            <p:nvPr/>
          </p:nvGrpSpPr>
          <p:grpSpPr>
            <a:xfrm>
              <a:off x="2102549" y="5813169"/>
              <a:ext cx="561587" cy="561587"/>
              <a:chOff x="5940539" y="5094371"/>
              <a:chExt cx="371944" cy="371944"/>
            </a:xfrm>
          </p:grpSpPr>
          <p:sp>
            <p:nvSpPr>
              <p:cNvPr id="258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46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chemeClr val="bg1">
                      <a:alpha val="45000"/>
                    </a:schemeClr>
                  </a:gs>
                  <a:gs pos="100000">
                    <a:srgbClr val="FFFFFF"/>
                  </a:gs>
                  <a:gs pos="0">
                    <a:schemeClr val="bg1">
                      <a:alpha val="97000"/>
                    </a:scheme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42"/>
              <p:cNvSpPr>
                <a:spLocks/>
              </p:cNvSpPr>
              <p:nvPr/>
            </p:nvSpPr>
            <p:spPr bwMode="auto">
              <a:xfrm>
                <a:off x="5940539" y="5287836"/>
                <a:ext cx="371944" cy="178479"/>
              </a:xfrm>
              <a:custGeom>
                <a:avLst/>
                <a:gdLst>
                  <a:gd name="T0" fmla="*/ 1635 w 1638"/>
                  <a:gd name="T1" fmla="*/ 43 h 786"/>
                  <a:gd name="T2" fmla="*/ 1625 w 1638"/>
                  <a:gd name="T3" fmla="*/ 122 h 786"/>
                  <a:gd name="T4" fmla="*/ 1605 w 1638"/>
                  <a:gd name="T5" fmla="*/ 199 h 786"/>
                  <a:gd name="T6" fmla="*/ 1580 w 1638"/>
                  <a:gd name="T7" fmla="*/ 273 h 786"/>
                  <a:gd name="T8" fmla="*/ 1547 w 1638"/>
                  <a:gd name="T9" fmla="*/ 344 h 786"/>
                  <a:gd name="T10" fmla="*/ 1508 w 1638"/>
                  <a:gd name="T11" fmla="*/ 410 h 786"/>
                  <a:gd name="T12" fmla="*/ 1464 w 1638"/>
                  <a:gd name="T13" fmla="*/ 473 h 786"/>
                  <a:gd name="T14" fmla="*/ 1414 w 1638"/>
                  <a:gd name="T15" fmla="*/ 531 h 786"/>
                  <a:gd name="T16" fmla="*/ 1359 w 1638"/>
                  <a:gd name="T17" fmla="*/ 584 h 786"/>
                  <a:gd name="T18" fmla="*/ 1298 w 1638"/>
                  <a:gd name="T19" fmla="*/ 631 h 786"/>
                  <a:gd name="T20" fmla="*/ 1235 w 1638"/>
                  <a:gd name="T21" fmla="*/ 674 h 786"/>
                  <a:gd name="T22" fmla="*/ 1166 w 1638"/>
                  <a:gd name="T23" fmla="*/ 710 h 786"/>
                  <a:gd name="T24" fmla="*/ 1094 w 1638"/>
                  <a:gd name="T25" fmla="*/ 740 h 786"/>
                  <a:gd name="T26" fmla="*/ 1019 w 1638"/>
                  <a:gd name="T27" fmla="*/ 763 h 786"/>
                  <a:gd name="T28" fmla="*/ 940 w 1638"/>
                  <a:gd name="T29" fmla="*/ 777 h 786"/>
                  <a:gd name="T30" fmla="*/ 861 w 1638"/>
                  <a:gd name="T31" fmla="*/ 785 h 786"/>
                  <a:gd name="T32" fmla="*/ 778 w 1638"/>
                  <a:gd name="T33" fmla="*/ 785 h 786"/>
                  <a:gd name="T34" fmla="*/ 697 w 1638"/>
                  <a:gd name="T35" fmla="*/ 777 h 786"/>
                  <a:gd name="T36" fmla="*/ 619 w 1638"/>
                  <a:gd name="T37" fmla="*/ 763 h 786"/>
                  <a:gd name="T38" fmla="*/ 543 w 1638"/>
                  <a:gd name="T39" fmla="*/ 740 h 786"/>
                  <a:gd name="T40" fmla="*/ 472 w 1638"/>
                  <a:gd name="T41" fmla="*/ 710 h 786"/>
                  <a:gd name="T42" fmla="*/ 403 w 1638"/>
                  <a:gd name="T43" fmla="*/ 674 h 786"/>
                  <a:gd name="T44" fmla="*/ 338 w 1638"/>
                  <a:gd name="T45" fmla="*/ 631 h 786"/>
                  <a:gd name="T46" fmla="*/ 279 w 1638"/>
                  <a:gd name="T47" fmla="*/ 584 h 786"/>
                  <a:gd name="T48" fmla="*/ 223 w 1638"/>
                  <a:gd name="T49" fmla="*/ 530 h 786"/>
                  <a:gd name="T50" fmla="*/ 173 w 1638"/>
                  <a:gd name="T51" fmla="*/ 472 h 786"/>
                  <a:gd name="T52" fmla="*/ 128 w 1638"/>
                  <a:gd name="T53" fmla="*/ 409 h 786"/>
                  <a:gd name="T54" fmla="*/ 89 w 1638"/>
                  <a:gd name="T55" fmla="*/ 342 h 786"/>
                  <a:gd name="T56" fmla="*/ 58 w 1638"/>
                  <a:gd name="T57" fmla="*/ 271 h 786"/>
                  <a:gd name="T58" fmla="*/ 32 w 1638"/>
                  <a:gd name="T59" fmla="*/ 197 h 786"/>
                  <a:gd name="T60" fmla="*/ 14 w 1638"/>
                  <a:gd name="T61" fmla="*/ 120 h 786"/>
                  <a:gd name="T62" fmla="*/ 3 w 1638"/>
                  <a:gd name="T63" fmla="*/ 40 h 786"/>
                  <a:gd name="T64" fmla="*/ 48 w 1638"/>
                  <a:gd name="T65" fmla="*/ 6 h 786"/>
                  <a:gd name="T66" fmla="*/ 146 w 1638"/>
                  <a:gd name="T67" fmla="*/ 18 h 786"/>
                  <a:gd name="T68" fmla="*/ 246 w 1638"/>
                  <a:gd name="T69" fmla="*/ 28 h 786"/>
                  <a:gd name="T70" fmla="*/ 348 w 1638"/>
                  <a:gd name="T71" fmla="*/ 37 h 786"/>
                  <a:gd name="T72" fmla="*/ 452 w 1638"/>
                  <a:gd name="T73" fmla="*/ 44 h 786"/>
                  <a:gd name="T74" fmla="*/ 557 w 1638"/>
                  <a:gd name="T75" fmla="*/ 50 h 786"/>
                  <a:gd name="T76" fmla="*/ 664 w 1638"/>
                  <a:gd name="T77" fmla="*/ 53 h 786"/>
                  <a:gd name="T78" fmla="*/ 774 w 1638"/>
                  <a:gd name="T79" fmla="*/ 56 h 786"/>
                  <a:gd name="T80" fmla="*/ 882 w 1638"/>
                  <a:gd name="T81" fmla="*/ 56 h 786"/>
                  <a:gd name="T82" fmla="*/ 988 w 1638"/>
                  <a:gd name="T83" fmla="*/ 53 h 786"/>
                  <a:gd name="T84" fmla="*/ 1093 w 1638"/>
                  <a:gd name="T85" fmla="*/ 50 h 786"/>
                  <a:gd name="T86" fmla="*/ 1196 w 1638"/>
                  <a:gd name="T87" fmla="*/ 45 h 786"/>
                  <a:gd name="T88" fmla="*/ 1297 w 1638"/>
                  <a:gd name="T89" fmla="*/ 39 h 786"/>
                  <a:gd name="T90" fmla="*/ 1398 w 1638"/>
                  <a:gd name="T91" fmla="*/ 30 h 786"/>
                  <a:gd name="T92" fmla="*/ 1495 w 1638"/>
                  <a:gd name="T93" fmla="*/ 20 h 786"/>
                  <a:gd name="T94" fmla="*/ 1590 w 1638"/>
                  <a:gd name="T95" fmla="*/ 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38" h="786">
                    <a:moveTo>
                      <a:pt x="1638" y="2"/>
                    </a:moveTo>
                    <a:lnTo>
                      <a:pt x="1635" y="43"/>
                    </a:lnTo>
                    <a:lnTo>
                      <a:pt x="1630" y="83"/>
                    </a:lnTo>
                    <a:lnTo>
                      <a:pt x="1625" y="122"/>
                    </a:lnTo>
                    <a:lnTo>
                      <a:pt x="1616" y="161"/>
                    </a:lnTo>
                    <a:lnTo>
                      <a:pt x="1605" y="199"/>
                    </a:lnTo>
                    <a:lnTo>
                      <a:pt x="1594" y="237"/>
                    </a:lnTo>
                    <a:lnTo>
                      <a:pt x="1580" y="273"/>
                    </a:lnTo>
                    <a:lnTo>
                      <a:pt x="1564" y="309"/>
                    </a:lnTo>
                    <a:lnTo>
                      <a:pt x="1547" y="344"/>
                    </a:lnTo>
                    <a:lnTo>
                      <a:pt x="1529" y="377"/>
                    </a:lnTo>
                    <a:lnTo>
                      <a:pt x="1508" y="410"/>
                    </a:lnTo>
                    <a:lnTo>
                      <a:pt x="1488" y="442"/>
                    </a:lnTo>
                    <a:lnTo>
                      <a:pt x="1464" y="473"/>
                    </a:lnTo>
                    <a:lnTo>
                      <a:pt x="1440" y="503"/>
                    </a:lnTo>
                    <a:lnTo>
                      <a:pt x="1414" y="531"/>
                    </a:lnTo>
                    <a:lnTo>
                      <a:pt x="1387" y="558"/>
                    </a:lnTo>
                    <a:lnTo>
                      <a:pt x="1359" y="584"/>
                    </a:lnTo>
                    <a:lnTo>
                      <a:pt x="1329" y="609"/>
                    </a:lnTo>
                    <a:lnTo>
                      <a:pt x="1298" y="631"/>
                    </a:lnTo>
                    <a:lnTo>
                      <a:pt x="1268" y="654"/>
                    </a:lnTo>
                    <a:lnTo>
                      <a:pt x="1235" y="674"/>
                    </a:lnTo>
                    <a:lnTo>
                      <a:pt x="1200" y="693"/>
                    </a:lnTo>
                    <a:lnTo>
                      <a:pt x="1166" y="710"/>
                    </a:lnTo>
                    <a:lnTo>
                      <a:pt x="1131" y="726"/>
                    </a:lnTo>
                    <a:lnTo>
                      <a:pt x="1094" y="740"/>
                    </a:lnTo>
                    <a:lnTo>
                      <a:pt x="1057" y="752"/>
                    </a:lnTo>
                    <a:lnTo>
                      <a:pt x="1019" y="763"/>
                    </a:lnTo>
                    <a:lnTo>
                      <a:pt x="980" y="771"/>
                    </a:lnTo>
                    <a:lnTo>
                      <a:pt x="940" y="777"/>
                    </a:lnTo>
                    <a:lnTo>
                      <a:pt x="900" y="783"/>
                    </a:lnTo>
                    <a:lnTo>
                      <a:pt x="861" y="785"/>
                    </a:lnTo>
                    <a:lnTo>
                      <a:pt x="819" y="786"/>
                    </a:lnTo>
                    <a:lnTo>
                      <a:pt x="778" y="785"/>
                    </a:lnTo>
                    <a:lnTo>
                      <a:pt x="737" y="783"/>
                    </a:lnTo>
                    <a:lnTo>
                      <a:pt x="697" y="777"/>
                    </a:lnTo>
                    <a:lnTo>
                      <a:pt x="657" y="771"/>
                    </a:lnTo>
                    <a:lnTo>
                      <a:pt x="619" y="763"/>
                    </a:lnTo>
                    <a:lnTo>
                      <a:pt x="581" y="752"/>
                    </a:lnTo>
                    <a:lnTo>
                      <a:pt x="543" y="740"/>
                    </a:lnTo>
                    <a:lnTo>
                      <a:pt x="507" y="725"/>
                    </a:lnTo>
                    <a:lnTo>
                      <a:pt x="472" y="710"/>
                    </a:lnTo>
                    <a:lnTo>
                      <a:pt x="436" y="693"/>
                    </a:lnTo>
                    <a:lnTo>
                      <a:pt x="403" y="674"/>
                    </a:lnTo>
                    <a:lnTo>
                      <a:pt x="370" y="653"/>
                    </a:lnTo>
                    <a:lnTo>
                      <a:pt x="338" y="631"/>
                    </a:lnTo>
                    <a:lnTo>
                      <a:pt x="308" y="607"/>
                    </a:lnTo>
                    <a:lnTo>
                      <a:pt x="279" y="584"/>
                    </a:lnTo>
                    <a:lnTo>
                      <a:pt x="250" y="557"/>
                    </a:lnTo>
                    <a:lnTo>
                      <a:pt x="223" y="530"/>
                    </a:lnTo>
                    <a:lnTo>
                      <a:pt x="198" y="501"/>
                    </a:lnTo>
                    <a:lnTo>
                      <a:pt x="173" y="472"/>
                    </a:lnTo>
                    <a:lnTo>
                      <a:pt x="150" y="441"/>
                    </a:lnTo>
                    <a:lnTo>
                      <a:pt x="128" y="409"/>
                    </a:lnTo>
                    <a:lnTo>
                      <a:pt x="109" y="376"/>
                    </a:lnTo>
                    <a:lnTo>
                      <a:pt x="89" y="342"/>
                    </a:lnTo>
                    <a:lnTo>
                      <a:pt x="73" y="308"/>
                    </a:lnTo>
                    <a:lnTo>
                      <a:pt x="58" y="271"/>
                    </a:lnTo>
                    <a:lnTo>
                      <a:pt x="44" y="235"/>
                    </a:lnTo>
                    <a:lnTo>
                      <a:pt x="32" y="197"/>
                    </a:lnTo>
                    <a:lnTo>
                      <a:pt x="22" y="159"/>
                    </a:lnTo>
                    <a:lnTo>
                      <a:pt x="14" y="120"/>
                    </a:lnTo>
                    <a:lnTo>
                      <a:pt x="7" y="81"/>
                    </a:lnTo>
                    <a:lnTo>
                      <a:pt x="3" y="40"/>
                    </a:lnTo>
                    <a:lnTo>
                      <a:pt x="0" y="0"/>
                    </a:lnTo>
                    <a:lnTo>
                      <a:pt x="48" y="6"/>
                    </a:lnTo>
                    <a:lnTo>
                      <a:pt x="96" y="12"/>
                    </a:lnTo>
                    <a:lnTo>
                      <a:pt x="146" y="18"/>
                    </a:lnTo>
                    <a:lnTo>
                      <a:pt x="196" y="24"/>
                    </a:lnTo>
                    <a:lnTo>
                      <a:pt x="246" y="28"/>
                    </a:lnTo>
                    <a:lnTo>
                      <a:pt x="297" y="33"/>
                    </a:lnTo>
                    <a:lnTo>
                      <a:pt x="348" y="37"/>
                    </a:lnTo>
                    <a:lnTo>
                      <a:pt x="400" y="41"/>
                    </a:lnTo>
                    <a:lnTo>
                      <a:pt x="452" y="44"/>
                    </a:lnTo>
                    <a:lnTo>
                      <a:pt x="505" y="48"/>
                    </a:lnTo>
                    <a:lnTo>
                      <a:pt x="557" y="50"/>
                    </a:lnTo>
                    <a:lnTo>
                      <a:pt x="611" y="52"/>
                    </a:lnTo>
                    <a:lnTo>
                      <a:pt x="664" y="53"/>
                    </a:lnTo>
                    <a:lnTo>
                      <a:pt x="719" y="55"/>
                    </a:lnTo>
                    <a:lnTo>
                      <a:pt x="774" y="56"/>
                    </a:lnTo>
                    <a:lnTo>
                      <a:pt x="829" y="56"/>
                    </a:lnTo>
                    <a:lnTo>
                      <a:pt x="882" y="56"/>
                    </a:lnTo>
                    <a:lnTo>
                      <a:pt x="936" y="55"/>
                    </a:lnTo>
                    <a:lnTo>
                      <a:pt x="988" y="53"/>
                    </a:lnTo>
                    <a:lnTo>
                      <a:pt x="1041" y="52"/>
                    </a:lnTo>
                    <a:lnTo>
                      <a:pt x="1093" y="50"/>
                    </a:lnTo>
                    <a:lnTo>
                      <a:pt x="1145" y="48"/>
                    </a:lnTo>
                    <a:lnTo>
                      <a:pt x="1196" y="45"/>
                    </a:lnTo>
                    <a:lnTo>
                      <a:pt x="1247" y="42"/>
                    </a:lnTo>
                    <a:lnTo>
                      <a:pt x="1297" y="39"/>
                    </a:lnTo>
                    <a:lnTo>
                      <a:pt x="1348" y="34"/>
                    </a:lnTo>
                    <a:lnTo>
                      <a:pt x="1398" y="30"/>
                    </a:lnTo>
                    <a:lnTo>
                      <a:pt x="1447" y="25"/>
                    </a:lnTo>
                    <a:lnTo>
                      <a:pt x="1495" y="20"/>
                    </a:lnTo>
                    <a:lnTo>
                      <a:pt x="1544" y="15"/>
                    </a:lnTo>
                    <a:lnTo>
                      <a:pt x="1590" y="9"/>
                    </a:lnTo>
                    <a:lnTo>
                      <a:pt x="1638" y="2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45000"/>
                    </a:schemeClr>
                  </a:gs>
                  <a:gs pos="0">
                    <a:schemeClr val="bg1">
                      <a:alpha val="2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50" name="Group 249"/>
            <p:cNvGrpSpPr/>
            <p:nvPr/>
          </p:nvGrpSpPr>
          <p:grpSpPr>
            <a:xfrm>
              <a:off x="2102547" y="403017"/>
              <a:ext cx="1674473" cy="4819767"/>
              <a:chOff x="3000179" y="211125"/>
              <a:chExt cx="1292141" cy="3719266"/>
            </a:xfrm>
          </p:grpSpPr>
          <p:sp>
            <p:nvSpPr>
              <p:cNvPr id="251" name="Freeform 26"/>
              <p:cNvSpPr>
                <a:spLocks/>
              </p:cNvSpPr>
              <p:nvPr/>
            </p:nvSpPr>
            <p:spPr bwMode="auto">
              <a:xfrm>
                <a:off x="3038276" y="211125"/>
                <a:ext cx="1254044" cy="3719266"/>
              </a:xfrm>
              <a:custGeom>
                <a:avLst/>
                <a:gdLst>
                  <a:gd name="T0" fmla="*/ 0 w 4741"/>
                  <a:gd name="T1" fmla="*/ 0 h 14059"/>
                  <a:gd name="T2" fmla="*/ 3656 w 4741"/>
                  <a:gd name="T3" fmla="*/ 0 h 14059"/>
                  <a:gd name="T4" fmla="*/ 3712 w 4741"/>
                  <a:gd name="T5" fmla="*/ 1 h 14059"/>
                  <a:gd name="T6" fmla="*/ 3767 w 4741"/>
                  <a:gd name="T7" fmla="*/ 4 h 14059"/>
                  <a:gd name="T8" fmla="*/ 3820 w 4741"/>
                  <a:gd name="T9" fmla="*/ 12 h 14059"/>
                  <a:gd name="T10" fmla="*/ 3874 w 4741"/>
                  <a:gd name="T11" fmla="*/ 22 h 14059"/>
                  <a:gd name="T12" fmla="*/ 3926 w 4741"/>
                  <a:gd name="T13" fmla="*/ 34 h 14059"/>
                  <a:gd name="T14" fmla="*/ 3978 w 4741"/>
                  <a:gd name="T15" fmla="*/ 49 h 14059"/>
                  <a:gd name="T16" fmla="*/ 4028 w 4741"/>
                  <a:gd name="T17" fmla="*/ 66 h 14059"/>
                  <a:gd name="T18" fmla="*/ 4077 w 4741"/>
                  <a:gd name="T19" fmla="*/ 85 h 14059"/>
                  <a:gd name="T20" fmla="*/ 4125 w 4741"/>
                  <a:gd name="T21" fmla="*/ 107 h 14059"/>
                  <a:gd name="T22" fmla="*/ 4172 w 4741"/>
                  <a:gd name="T23" fmla="*/ 131 h 14059"/>
                  <a:gd name="T24" fmla="*/ 4217 w 4741"/>
                  <a:gd name="T25" fmla="*/ 157 h 14059"/>
                  <a:gd name="T26" fmla="*/ 4262 w 4741"/>
                  <a:gd name="T27" fmla="*/ 186 h 14059"/>
                  <a:gd name="T28" fmla="*/ 4304 w 4741"/>
                  <a:gd name="T29" fmla="*/ 215 h 14059"/>
                  <a:gd name="T30" fmla="*/ 4345 w 4741"/>
                  <a:gd name="T31" fmla="*/ 247 h 14059"/>
                  <a:gd name="T32" fmla="*/ 4385 w 4741"/>
                  <a:gd name="T33" fmla="*/ 281 h 14059"/>
                  <a:gd name="T34" fmla="*/ 4422 w 4741"/>
                  <a:gd name="T35" fmla="*/ 318 h 14059"/>
                  <a:gd name="T36" fmla="*/ 4458 w 4741"/>
                  <a:gd name="T37" fmla="*/ 356 h 14059"/>
                  <a:gd name="T38" fmla="*/ 4492 w 4741"/>
                  <a:gd name="T39" fmla="*/ 395 h 14059"/>
                  <a:gd name="T40" fmla="*/ 4525 w 4741"/>
                  <a:gd name="T41" fmla="*/ 436 h 14059"/>
                  <a:gd name="T42" fmla="*/ 4555 w 4741"/>
                  <a:gd name="T43" fmla="*/ 479 h 14059"/>
                  <a:gd name="T44" fmla="*/ 4583 w 4741"/>
                  <a:gd name="T45" fmla="*/ 523 h 14059"/>
                  <a:gd name="T46" fmla="*/ 4609 w 4741"/>
                  <a:gd name="T47" fmla="*/ 568 h 14059"/>
                  <a:gd name="T48" fmla="*/ 4633 w 4741"/>
                  <a:gd name="T49" fmla="*/ 614 h 14059"/>
                  <a:gd name="T50" fmla="*/ 4655 w 4741"/>
                  <a:gd name="T51" fmla="*/ 662 h 14059"/>
                  <a:gd name="T52" fmla="*/ 4675 w 4741"/>
                  <a:gd name="T53" fmla="*/ 712 h 14059"/>
                  <a:gd name="T54" fmla="*/ 4692 w 4741"/>
                  <a:gd name="T55" fmla="*/ 763 h 14059"/>
                  <a:gd name="T56" fmla="*/ 4706 w 4741"/>
                  <a:gd name="T57" fmla="*/ 814 h 14059"/>
                  <a:gd name="T58" fmla="*/ 4719 w 4741"/>
                  <a:gd name="T59" fmla="*/ 866 h 14059"/>
                  <a:gd name="T60" fmla="*/ 4728 w 4741"/>
                  <a:gd name="T61" fmla="*/ 919 h 14059"/>
                  <a:gd name="T62" fmla="*/ 4735 w 4741"/>
                  <a:gd name="T63" fmla="*/ 973 h 14059"/>
                  <a:gd name="T64" fmla="*/ 4740 w 4741"/>
                  <a:gd name="T65" fmla="*/ 1028 h 14059"/>
                  <a:gd name="T66" fmla="*/ 4741 w 4741"/>
                  <a:gd name="T67" fmla="*/ 1084 h 14059"/>
                  <a:gd name="T68" fmla="*/ 4741 w 4741"/>
                  <a:gd name="T69" fmla="*/ 14059 h 14059"/>
                  <a:gd name="T70" fmla="*/ 0 w 4741"/>
                  <a:gd name="T71" fmla="*/ 0 h 14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41" h="14059">
                    <a:moveTo>
                      <a:pt x="0" y="0"/>
                    </a:moveTo>
                    <a:lnTo>
                      <a:pt x="3656" y="0"/>
                    </a:lnTo>
                    <a:lnTo>
                      <a:pt x="3712" y="1"/>
                    </a:lnTo>
                    <a:lnTo>
                      <a:pt x="3767" y="4"/>
                    </a:lnTo>
                    <a:lnTo>
                      <a:pt x="3820" y="12"/>
                    </a:lnTo>
                    <a:lnTo>
                      <a:pt x="3874" y="22"/>
                    </a:lnTo>
                    <a:lnTo>
                      <a:pt x="3926" y="34"/>
                    </a:lnTo>
                    <a:lnTo>
                      <a:pt x="3978" y="49"/>
                    </a:lnTo>
                    <a:lnTo>
                      <a:pt x="4028" y="66"/>
                    </a:lnTo>
                    <a:lnTo>
                      <a:pt x="4077" y="85"/>
                    </a:lnTo>
                    <a:lnTo>
                      <a:pt x="4125" y="107"/>
                    </a:lnTo>
                    <a:lnTo>
                      <a:pt x="4172" y="131"/>
                    </a:lnTo>
                    <a:lnTo>
                      <a:pt x="4217" y="157"/>
                    </a:lnTo>
                    <a:lnTo>
                      <a:pt x="4262" y="186"/>
                    </a:lnTo>
                    <a:lnTo>
                      <a:pt x="4304" y="215"/>
                    </a:lnTo>
                    <a:lnTo>
                      <a:pt x="4345" y="247"/>
                    </a:lnTo>
                    <a:lnTo>
                      <a:pt x="4385" y="281"/>
                    </a:lnTo>
                    <a:lnTo>
                      <a:pt x="4422" y="318"/>
                    </a:lnTo>
                    <a:lnTo>
                      <a:pt x="4458" y="356"/>
                    </a:lnTo>
                    <a:lnTo>
                      <a:pt x="4492" y="395"/>
                    </a:lnTo>
                    <a:lnTo>
                      <a:pt x="4525" y="436"/>
                    </a:lnTo>
                    <a:lnTo>
                      <a:pt x="4555" y="479"/>
                    </a:lnTo>
                    <a:lnTo>
                      <a:pt x="4583" y="523"/>
                    </a:lnTo>
                    <a:lnTo>
                      <a:pt x="4609" y="568"/>
                    </a:lnTo>
                    <a:lnTo>
                      <a:pt x="4633" y="614"/>
                    </a:lnTo>
                    <a:lnTo>
                      <a:pt x="4655" y="662"/>
                    </a:lnTo>
                    <a:lnTo>
                      <a:pt x="4675" y="712"/>
                    </a:lnTo>
                    <a:lnTo>
                      <a:pt x="4692" y="763"/>
                    </a:lnTo>
                    <a:lnTo>
                      <a:pt x="4706" y="814"/>
                    </a:lnTo>
                    <a:lnTo>
                      <a:pt x="4719" y="866"/>
                    </a:lnTo>
                    <a:lnTo>
                      <a:pt x="4728" y="919"/>
                    </a:lnTo>
                    <a:lnTo>
                      <a:pt x="4735" y="973"/>
                    </a:lnTo>
                    <a:lnTo>
                      <a:pt x="4740" y="1028"/>
                    </a:lnTo>
                    <a:lnTo>
                      <a:pt x="4741" y="1084"/>
                    </a:lnTo>
                    <a:lnTo>
                      <a:pt x="4741" y="1405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bg1">
                      <a:alpha val="0"/>
                    </a:schemeClr>
                  </a:gs>
                  <a:gs pos="0">
                    <a:schemeClr val="bg1">
                      <a:alpha val="5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27"/>
              <p:cNvSpPr>
                <a:spLocks/>
              </p:cNvSpPr>
              <p:nvPr/>
            </p:nvSpPr>
            <p:spPr bwMode="auto">
              <a:xfrm>
                <a:off x="3000179" y="531778"/>
                <a:ext cx="430185" cy="88894"/>
              </a:xfrm>
              <a:custGeom>
                <a:avLst/>
                <a:gdLst>
                  <a:gd name="T0" fmla="*/ 1456 w 1626"/>
                  <a:gd name="T1" fmla="*/ 0 h 338"/>
                  <a:gd name="T2" fmla="*/ 1490 w 1626"/>
                  <a:gd name="T3" fmla="*/ 3 h 338"/>
                  <a:gd name="T4" fmla="*/ 1522 w 1626"/>
                  <a:gd name="T5" fmla="*/ 12 h 338"/>
                  <a:gd name="T6" fmla="*/ 1550 w 1626"/>
                  <a:gd name="T7" fmla="*/ 28 h 338"/>
                  <a:gd name="T8" fmla="*/ 1576 w 1626"/>
                  <a:gd name="T9" fmla="*/ 49 h 338"/>
                  <a:gd name="T10" fmla="*/ 1597 w 1626"/>
                  <a:gd name="T11" fmla="*/ 74 h 338"/>
                  <a:gd name="T12" fmla="*/ 1612 w 1626"/>
                  <a:gd name="T13" fmla="*/ 104 h 338"/>
                  <a:gd name="T14" fmla="*/ 1622 w 1626"/>
                  <a:gd name="T15" fmla="*/ 135 h 338"/>
                  <a:gd name="T16" fmla="*/ 1626 w 1626"/>
                  <a:gd name="T17" fmla="*/ 169 h 338"/>
                  <a:gd name="T18" fmla="*/ 1625 w 1626"/>
                  <a:gd name="T19" fmla="*/ 187 h 338"/>
                  <a:gd name="T20" fmla="*/ 1618 w 1626"/>
                  <a:gd name="T21" fmla="*/ 220 h 338"/>
                  <a:gd name="T22" fmla="*/ 1605 w 1626"/>
                  <a:gd name="T23" fmla="*/ 249 h 338"/>
                  <a:gd name="T24" fmla="*/ 1587 w 1626"/>
                  <a:gd name="T25" fmla="*/ 277 h 338"/>
                  <a:gd name="T26" fmla="*/ 1564 w 1626"/>
                  <a:gd name="T27" fmla="*/ 300 h 338"/>
                  <a:gd name="T28" fmla="*/ 1537 w 1626"/>
                  <a:gd name="T29" fmla="*/ 318 h 338"/>
                  <a:gd name="T30" fmla="*/ 1506 w 1626"/>
                  <a:gd name="T31" fmla="*/ 330 h 338"/>
                  <a:gd name="T32" fmla="*/ 1474 w 1626"/>
                  <a:gd name="T33" fmla="*/ 337 h 338"/>
                  <a:gd name="T34" fmla="*/ 170 w 1626"/>
                  <a:gd name="T35" fmla="*/ 338 h 338"/>
                  <a:gd name="T36" fmla="*/ 136 w 1626"/>
                  <a:gd name="T37" fmla="*/ 335 h 338"/>
                  <a:gd name="T38" fmla="*/ 104 w 1626"/>
                  <a:gd name="T39" fmla="*/ 325 h 338"/>
                  <a:gd name="T40" fmla="*/ 76 w 1626"/>
                  <a:gd name="T41" fmla="*/ 310 h 338"/>
                  <a:gd name="T42" fmla="*/ 51 w 1626"/>
                  <a:gd name="T43" fmla="*/ 288 h 338"/>
                  <a:gd name="T44" fmla="*/ 30 w 1626"/>
                  <a:gd name="T45" fmla="*/ 263 h 338"/>
                  <a:gd name="T46" fmla="*/ 14 w 1626"/>
                  <a:gd name="T47" fmla="*/ 235 h 338"/>
                  <a:gd name="T48" fmla="*/ 4 w 1626"/>
                  <a:gd name="T49" fmla="*/ 203 h 338"/>
                  <a:gd name="T50" fmla="*/ 0 w 1626"/>
                  <a:gd name="T51" fmla="*/ 169 h 338"/>
                  <a:gd name="T52" fmla="*/ 1 w 1626"/>
                  <a:gd name="T53" fmla="*/ 151 h 338"/>
                  <a:gd name="T54" fmla="*/ 8 w 1626"/>
                  <a:gd name="T55" fmla="*/ 118 h 338"/>
                  <a:gd name="T56" fmla="*/ 21 w 1626"/>
                  <a:gd name="T57" fmla="*/ 89 h 338"/>
                  <a:gd name="T58" fmla="*/ 39 w 1626"/>
                  <a:gd name="T59" fmla="*/ 61 h 338"/>
                  <a:gd name="T60" fmla="*/ 62 w 1626"/>
                  <a:gd name="T61" fmla="*/ 39 h 338"/>
                  <a:gd name="T62" fmla="*/ 89 w 1626"/>
                  <a:gd name="T63" fmla="*/ 20 h 338"/>
                  <a:gd name="T64" fmla="*/ 120 w 1626"/>
                  <a:gd name="T65" fmla="*/ 7 h 338"/>
                  <a:gd name="T66" fmla="*/ 153 w 1626"/>
                  <a:gd name="T67" fmla="*/ 1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6" h="338">
                    <a:moveTo>
                      <a:pt x="170" y="0"/>
                    </a:moveTo>
                    <a:lnTo>
                      <a:pt x="1456" y="0"/>
                    </a:lnTo>
                    <a:lnTo>
                      <a:pt x="1474" y="1"/>
                    </a:lnTo>
                    <a:lnTo>
                      <a:pt x="1490" y="3"/>
                    </a:lnTo>
                    <a:lnTo>
                      <a:pt x="1506" y="7"/>
                    </a:lnTo>
                    <a:lnTo>
                      <a:pt x="1522" y="12"/>
                    </a:lnTo>
                    <a:lnTo>
                      <a:pt x="1537" y="20"/>
                    </a:lnTo>
                    <a:lnTo>
                      <a:pt x="1550" y="28"/>
                    </a:lnTo>
                    <a:lnTo>
                      <a:pt x="1564" y="39"/>
                    </a:lnTo>
                    <a:lnTo>
                      <a:pt x="1576" y="49"/>
                    </a:lnTo>
                    <a:lnTo>
                      <a:pt x="1587" y="61"/>
                    </a:lnTo>
                    <a:lnTo>
                      <a:pt x="1597" y="74"/>
                    </a:lnTo>
                    <a:lnTo>
                      <a:pt x="1605" y="89"/>
                    </a:lnTo>
                    <a:lnTo>
                      <a:pt x="1612" y="104"/>
                    </a:lnTo>
                    <a:lnTo>
                      <a:pt x="1618" y="118"/>
                    </a:lnTo>
                    <a:lnTo>
                      <a:pt x="1622" y="135"/>
                    </a:lnTo>
                    <a:lnTo>
                      <a:pt x="1625" y="151"/>
                    </a:lnTo>
                    <a:lnTo>
                      <a:pt x="1626" y="169"/>
                    </a:lnTo>
                    <a:lnTo>
                      <a:pt x="1626" y="169"/>
                    </a:lnTo>
                    <a:lnTo>
                      <a:pt x="1625" y="187"/>
                    </a:lnTo>
                    <a:lnTo>
                      <a:pt x="1622" y="203"/>
                    </a:lnTo>
                    <a:lnTo>
                      <a:pt x="1618" y="220"/>
                    </a:lnTo>
                    <a:lnTo>
                      <a:pt x="1612" y="235"/>
                    </a:lnTo>
                    <a:lnTo>
                      <a:pt x="1605" y="249"/>
                    </a:lnTo>
                    <a:lnTo>
                      <a:pt x="1597" y="263"/>
                    </a:lnTo>
                    <a:lnTo>
                      <a:pt x="1587" y="277"/>
                    </a:lnTo>
                    <a:lnTo>
                      <a:pt x="1576" y="288"/>
                    </a:lnTo>
                    <a:lnTo>
                      <a:pt x="1564" y="300"/>
                    </a:lnTo>
                    <a:lnTo>
                      <a:pt x="1550" y="310"/>
                    </a:lnTo>
                    <a:lnTo>
                      <a:pt x="1537" y="318"/>
                    </a:lnTo>
                    <a:lnTo>
                      <a:pt x="1522" y="325"/>
                    </a:lnTo>
                    <a:lnTo>
                      <a:pt x="1506" y="330"/>
                    </a:lnTo>
                    <a:lnTo>
                      <a:pt x="1490" y="335"/>
                    </a:lnTo>
                    <a:lnTo>
                      <a:pt x="1474" y="337"/>
                    </a:lnTo>
                    <a:lnTo>
                      <a:pt x="1456" y="338"/>
                    </a:lnTo>
                    <a:lnTo>
                      <a:pt x="170" y="338"/>
                    </a:lnTo>
                    <a:lnTo>
                      <a:pt x="153" y="337"/>
                    </a:lnTo>
                    <a:lnTo>
                      <a:pt x="136" y="335"/>
                    </a:lnTo>
                    <a:lnTo>
                      <a:pt x="120" y="330"/>
                    </a:lnTo>
                    <a:lnTo>
                      <a:pt x="104" y="325"/>
                    </a:lnTo>
                    <a:lnTo>
                      <a:pt x="89" y="318"/>
                    </a:lnTo>
                    <a:lnTo>
                      <a:pt x="76" y="310"/>
                    </a:lnTo>
                    <a:lnTo>
                      <a:pt x="62" y="300"/>
                    </a:lnTo>
                    <a:lnTo>
                      <a:pt x="51" y="288"/>
                    </a:lnTo>
                    <a:lnTo>
                      <a:pt x="39" y="277"/>
                    </a:lnTo>
                    <a:lnTo>
                      <a:pt x="30" y="263"/>
                    </a:lnTo>
                    <a:lnTo>
                      <a:pt x="21" y="249"/>
                    </a:lnTo>
                    <a:lnTo>
                      <a:pt x="14" y="235"/>
                    </a:lnTo>
                    <a:lnTo>
                      <a:pt x="8" y="220"/>
                    </a:lnTo>
                    <a:lnTo>
                      <a:pt x="4" y="203"/>
                    </a:lnTo>
                    <a:lnTo>
                      <a:pt x="1" y="187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1" y="151"/>
                    </a:lnTo>
                    <a:lnTo>
                      <a:pt x="4" y="135"/>
                    </a:lnTo>
                    <a:lnTo>
                      <a:pt x="8" y="118"/>
                    </a:lnTo>
                    <a:lnTo>
                      <a:pt x="14" y="104"/>
                    </a:lnTo>
                    <a:lnTo>
                      <a:pt x="21" y="89"/>
                    </a:lnTo>
                    <a:lnTo>
                      <a:pt x="30" y="74"/>
                    </a:lnTo>
                    <a:lnTo>
                      <a:pt x="39" y="61"/>
                    </a:lnTo>
                    <a:lnTo>
                      <a:pt x="51" y="49"/>
                    </a:lnTo>
                    <a:lnTo>
                      <a:pt x="62" y="39"/>
                    </a:lnTo>
                    <a:lnTo>
                      <a:pt x="76" y="28"/>
                    </a:lnTo>
                    <a:lnTo>
                      <a:pt x="89" y="20"/>
                    </a:lnTo>
                    <a:lnTo>
                      <a:pt x="104" y="12"/>
                    </a:lnTo>
                    <a:lnTo>
                      <a:pt x="120" y="7"/>
                    </a:lnTo>
                    <a:lnTo>
                      <a:pt x="136" y="3"/>
                    </a:lnTo>
                    <a:lnTo>
                      <a:pt x="153" y="1"/>
                    </a:lnTo>
                    <a:lnTo>
                      <a:pt x="17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60606"/>
                  </a:gs>
                  <a:gs pos="62000">
                    <a:srgbClr val="3C3C3C"/>
                  </a:gs>
                  <a:gs pos="4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28"/>
              <p:cNvSpPr>
                <a:spLocks/>
              </p:cNvSpPr>
              <p:nvPr/>
            </p:nvSpPr>
            <p:spPr bwMode="auto">
              <a:xfrm>
                <a:off x="3025576" y="546063"/>
                <a:ext cx="379388" cy="52385"/>
              </a:xfrm>
              <a:custGeom>
                <a:avLst/>
                <a:gdLst>
                  <a:gd name="T0" fmla="*/ 1360 w 1434"/>
                  <a:gd name="T1" fmla="*/ 0 h 200"/>
                  <a:gd name="T2" fmla="*/ 1375 w 1434"/>
                  <a:gd name="T3" fmla="*/ 3 h 200"/>
                  <a:gd name="T4" fmla="*/ 1388 w 1434"/>
                  <a:gd name="T5" fmla="*/ 6 h 200"/>
                  <a:gd name="T6" fmla="*/ 1401 w 1434"/>
                  <a:gd name="T7" fmla="*/ 13 h 200"/>
                  <a:gd name="T8" fmla="*/ 1412 w 1434"/>
                  <a:gd name="T9" fmla="*/ 22 h 200"/>
                  <a:gd name="T10" fmla="*/ 1421 w 1434"/>
                  <a:gd name="T11" fmla="*/ 33 h 200"/>
                  <a:gd name="T12" fmla="*/ 1428 w 1434"/>
                  <a:gd name="T13" fmla="*/ 46 h 200"/>
                  <a:gd name="T14" fmla="*/ 1433 w 1434"/>
                  <a:gd name="T15" fmla="*/ 60 h 200"/>
                  <a:gd name="T16" fmla="*/ 1434 w 1434"/>
                  <a:gd name="T17" fmla="*/ 75 h 200"/>
                  <a:gd name="T18" fmla="*/ 1434 w 1434"/>
                  <a:gd name="T19" fmla="*/ 134 h 200"/>
                  <a:gd name="T20" fmla="*/ 1430 w 1434"/>
                  <a:gd name="T21" fmla="*/ 147 h 200"/>
                  <a:gd name="T22" fmla="*/ 1425 w 1434"/>
                  <a:gd name="T23" fmla="*/ 161 h 200"/>
                  <a:gd name="T24" fmla="*/ 1417 w 1434"/>
                  <a:gd name="T25" fmla="*/ 172 h 200"/>
                  <a:gd name="T26" fmla="*/ 1407 w 1434"/>
                  <a:gd name="T27" fmla="*/ 183 h 200"/>
                  <a:gd name="T28" fmla="*/ 1395 w 1434"/>
                  <a:gd name="T29" fmla="*/ 191 h 200"/>
                  <a:gd name="T30" fmla="*/ 1381 w 1434"/>
                  <a:gd name="T31" fmla="*/ 196 h 200"/>
                  <a:gd name="T32" fmla="*/ 1367 w 1434"/>
                  <a:gd name="T33" fmla="*/ 200 h 200"/>
                  <a:gd name="T34" fmla="*/ 75 w 1434"/>
                  <a:gd name="T35" fmla="*/ 200 h 200"/>
                  <a:gd name="T36" fmla="*/ 59 w 1434"/>
                  <a:gd name="T37" fmla="*/ 199 h 200"/>
                  <a:gd name="T38" fmla="*/ 46 w 1434"/>
                  <a:gd name="T39" fmla="*/ 194 h 200"/>
                  <a:gd name="T40" fmla="*/ 33 w 1434"/>
                  <a:gd name="T41" fmla="*/ 187 h 200"/>
                  <a:gd name="T42" fmla="*/ 22 w 1434"/>
                  <a:gd name="T43" fmla="*/ 178 h 200"/>
                  <a:gd name="T44" fmla="*/ 13 w 1434"/>
                  <a:gd name="T45" fmla="*/ 167 h 200"/>
                  <a:gd name="T46" fmla="*/ 6 w 1434"/>
                  <a:gd name="T47" fmla="*/ 154 h 200"/>
                  <a:gd name="T48" fmla="*/ 2 w 1434"/>
                  <a:gd name="T49" fmla="*/ 140 h 200"/>
                  <a:gd name="T50" fmla="*/ 0 w 1434"/>
                  <a:gd name="T51" fmla="*/ 126 h 200"/>
                  <a:gd name="T52" fmla="*/ 1 w 1434"/>
                  <a:gd name="T53" fmla="*/ 68 h 200"/>
                  <a:gd name="T54" fmla="*/ 4 w 1434"/>
                  <a:gd name="T55" fmla="*/ 53 h 200"/>
                  <a:gd name="T56" fmla="*/ 9 w 1434"/>
                  <a:gd name="T57" fmla="*/ 39 h 200"/>
                  <a:gd name="T58" fmla="*/ 17 w 1434"/>
                  <a:gd name="T59" fmla="*/ 28 h 200"/>
                  <a:gd name="T60" fmla="*/ 28 w 1434"/>
                  <a:gd name="T61" fmla="*/ 17 h 200"/>
                  <a:gd name="T62" fmla="*/ 40 w 1434"/>
                  <a:gd name="T63" fmla="*/ 9 h 200"/>
                  <a:gd name="T64" fmla="*/ 53 w 1434"/>
                  <a:gd name="T65" fmla="*/ 4 h 200"/>
                  <a:gd name="T66" fmla="*/ 67 w 1434"/>
                  <a:gd name="T67" fmla="*/ 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4" h="200">
                    <a:moveTo>
                      <a:pt x="75" y="0"/>
                    </a:moveTo>
                    <a:lnTo>
                      <a:pt x="1360" y="0"/>
                    </a:lnTo>
                    <a:lnTo>
                      <a:pt x="1367" y="1"/>
                    </a:lnTo>
                    <a:lnTo>
                      <a:pt x="1375" y="3"/>
                    </a:lnTo>
                    <a:lnTo>
                      <a:pt x="1381" y="4"/>
                    </a:lnTo>
                    <a:lnTo>
                      <a:pt x="1388" y="6"/>
                    </a:lnTo>
                    <a:lnTo>
                      <a:pt x="1395" y="9"/>
                    </a:lnTo>
                    <a:lnTo>
                      <a:pt x="1401" y="13"/>
                    </a:lnTo>
                    <a:lnTo>
                      <a:pt x="1407" y="17"/>
                    </a:lnTo>
                    <a:lnTo>
                      <a:pt x="1412" y="22"/>
                    </a:lnTo>
                    <a:lnTo>
                      <a:pt x="1417" y="28"/>
                    </a:lnTo>
                    <a:lnTo>
                      <a:pt x="1421" y="33"/>
                    </a:lnTo>
                    <a:lnTo>
                      <a:pt x="1425" y="39"/>
                    </a:lnTo>
                    <a:lnTo>
                      <a:pt x="1428" y="46"/>
                    </a:lnTo>
                    <a:lnTo>
                      <a:pt x="1430" y="53"/>
                    </a:lnTo>
                    <a:lnTo>
                      <a:pt x="1433" y="60"/>
                    </a:lnTo>
                    <a:lnTo>
                      <a:pt x="1434" y="68"/>
                    </a:lnTo>
                    <a:lnTo>
                      <a:pt x="1434" y="75"/>
                    </a:lnTo>
                    <a:lnTo>
                      <a:pt x="1434" y="126"/>
                    </a:lnTo>
                    <a:lnTo>
                      <a:pt x="1434" y="134"/>
                    </a:lnTo>
                    <a:lnTo>
                      <a:pt x="1433" y="140"/>
                    </a:lnTo>
                    <a:lnTo>
                      <a:pt x="1430" y="147"/>
                    </a:lnTo>
                    <a:lnTo>
                      <a:pt x="1428" y="154"/>
                    </a:lnTo>
                    <a:lnTo>
                      <a:pt x="1425" y="161"/>
                    </a:lnTo>
                    <a:lnTo>
                      <a:pt x="1421" y="167"/>
                    </a:lnTo>
                    <a:lnTo>
                      <a:pt x="1417" y="172"/>
                    </a:lnTo>
                    <a:lnTo>
                      <a:pt x="1412" y="178"/>
                    </a:lnTo>
                    <a:lnTo>
                      <a:pt x="1407" y="183"/>
                    </a:lnTo>
                    <a:lnTo>
                      <a:pt x="1401" y="187"/>
                    </a:lnTo>
                    <a:lnTo>
                      <a:pt x="1395" y="191"/>
                    </a:lnTo>
                    <a:lnTo>
                      <a:pt x="1388" y="194"/>
                    </a:lnTo>
                    <a:lnTo>
                      <a:pt x="1381" y="196"/>
                    </a:lnTo>
                    <a:lnTo>
                      <a:pt x="1375" y="199"/>
                    </a:lnTo>
                    <a:lnTo>
                      <a:pt x="1367" y="200"/>
                    </a:lnTo>
                    <a:lnTo>
                      <a:pt x="1360" y="200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59" y="199"/>
                    </a:lnTo>
                    <a:lnTo>
                      <a:pt x="53" y="196"/>
                    </a:lnTo>
                    <a:lnTo>
                      <a:pt x="46" y="194"/>
                    </a:lnTo>
                    <a:lnTo>
                      <a:pt x="40" y="191"/>
                    </a:lnTo>
                    <a:lnTo>
                      <a:pt x="33" y="187"/>
                    </a:lnTo>
                    <a:lnTo>
                      <a:pt x="28" y="183"/>
                    </a:lnTo>
                    <a:lnTo>
                      <a:pt x="22" y="178"/>
                    </a:lnTo>
                    <a:lnTo>
                      <a:pt x="17" y="172"/>
                    </a:lnTo>
                    <a:lnTo>
                      <a:pt x="13" y="167"/>
                    </a:lnTo>
                    <a:lnTo>
                      <a:pt x="9" y="161"/>
                    </a:lnTo>
                    <a:lnTo>
                      <a:pt x="6" y="154"/>
                    </a:lnTo>
                    <a:lnTo>
                      <a:pt x="4" y="147"/>
                    </a:lnTo>
                    <a:lnTo>
                      <a:pt x="2" y="140"/>
                    </a:lnTo>
                    <a:lnTo>
                      <a:pt x="1" y="134"/>
                    </a:lnTo>
                    <a:lnTo>
                      <a:pt x="0" y="126"/>
                    </a:lnTo>
                    <a:lnTo>
                      <a:pt x="0" y="75"/>
                    </a:lnTo>
                    <a:lnTo>
                      <a:pt x="1" y="68"/>
                    </a:lnTo>
                    <a:lnTo>
                      <a:pt x="2" y="60"/>
                    </a:lnTo>
                    <a:lnTo>
                      <a:pt x="4" y="53"/>
                    </a:lnTo>
                    <a:lnTo>
                      <a:pt x="6" y="46"/>
                    </a:lnTo>
                    <a:lnTo>
                      <a:pt x="9" y="39"/>
                    </a:lnTo>
                    <a:lnTo>
                      <a:pt x="13" y="33"/>
                    </a:lnTo>
                    <a:lnTo>
                      <a:pt x="17" y="28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3" y="13"/>
                    </a:lnTo>
                    <a:lnTo>
                      <a:pt x="40" y="9"/>
                    </a:lnTo>
                    <a:lnTo>
                      <a:pt x="46" y="6"/>
                    </a:lnTo>
                    <a:lnTo>
                      <a:pt x="53" y="4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close/>
                  </a:path>
                </a:pathLst>
              </a:custGeom>
              <a:pattFill prst="pct60">
                <a:fgClr>
                  <a:schemeClr val="tx1">
                    <a:lumMod val="65000"/>
                    <a:lumOff val="35000"/>
                  </a:schemeClr>
                </a:fgClr>
                <a:bgClr>
                  <a:schemeClr val="tx1">
                    <a:lumMod val="85000"/>
                    <a:lumOff val="15000"/>
                  </a:schemeClr>
                </a:bgClr>
              </a:patt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3173201" y="353990"/>
                <a:ext cx="92069" cy="90482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3197034" y="376211"/>
                <a:ext cx="44447" cy="44447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31"/>
              <p:cNvSpPr>
                <a:spLocks/>
              </p:cNvSpPr>
              <p:nvPr/>
            </p:nvSpPr>
            <p:spPr bwMode="auto">
              <a:xfrm>
                <a:off x="3203377" y="393675"/>
                <a:ext cx="12699" cy="126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32"/>
              <p:cNvSpPr>
                <a:spLocks/>
              </p:cNvSpPr>
              <p:nvPr/>
            </p:nvSpPr>
            <p:spPr bwMode="auto">
              <a:xfrm>
                <a:off x="3224213" y="387350"/>
                <a:ext cx="7938" cy="7938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5037983" y="1328751"/>
            <a:ext cx="69088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4000" dirty="0" smtClean="0">
                <a:ea typeface="Segoe UI" panose="020B0502040204020203" pitchFamily="34" charset="0"/>
                <a:cs typeface="Segoe UI" panose="020B0502040204020203" pitchFamily="34" charset="0"/>
              </a:rPr>
              <a:t>SOCIAL MEDIA ANALYSIS</a:t>
            </a:r>
            <a:endParaRPr lang="en-US" sz="40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TextBox 210"/>
          <p:cNvSpPr txBox="1"/>
          <p:nvPr/>
        </p:nvSpPr>
        <p:spPr>
          <a:xfrm>
            <a:off x="1331341" y="4433706"/>
            <a:ext cx="2206942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chemeClr val="bg1"/>
                </a:solidFill>
              </a:rPr>
              <a:t>Lorem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Ipsum</a:t>
            </a:r>
            <a:r>
              <a:rPr lang="en-US" sz="1000" dirty="0" smtClean="0">
                <a:solidFill>
                  <a:schemeClr val="bg1"/>
                </a:solidFill>
              </a:rPr>
              <a:t> is simply dummy text of the printing and typesetting industry. Lorem Ipsum has been the industry's standard dummy text ever since the 1500s</a:t>
            </a:r>
            <a:r>
              <a:rPr lang="en-US" sz="10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5431092" y="2059994"/>
            <a:ext cx="6122582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/>
              <a:t>Lorem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Lorem </a:t>
            </a:r>
            <a:r>
              <a:rPr lang="en-US" sz="1200" dirty="0" err="1"/>
              <a:t>Ipsum</a:t>
            </a:r>
            <a:r>
              <a:rPr lang="en-US" sz="1200" dirty="0"/>
              <a:t> has been the industry's standard dummy text ever since the 1500s, when an unknown printer took a galley of type and scrambled it to make a type specimen book. </a:t>
            </a:r>
          </a:p>
        </p:txBody>
      </p:sp>
      <p:graphicFrame>
        <p:nvGraphicFramePr>
          <p:cNvPr id="213" name="Chart 212"/>
          <p:cNvGraphicFramePr/>
          <p:nvPr>
            <p:extLst>
              <p:ext uri="{D42A27DB-BD31-4B8C-83A1-F6EECF244321}">
                <p14:modId xmlns:p14="http://schemas.microsoft.com/office/powerpoint/2010/main" val="517683912"/>
              </p:ext>
            </p:extLst>
          </p:nvPr>
        </p:nvGraphicFramePr>
        <p:xfrm>
          <a:off x="5951736" y="2872147"/>
          <a:ext cx="4776683" cy="3184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Oval 13"/>
          <p:cNvSpPr/>
          <p:nvPr/>
        </p:nvSpPr>
        <p:spPr>
          <a:xfrm>
            <a:off x="1530341" y="2028227"/>
            <a:ext cx="1687840" cy="168784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8" name="Freeform 3447"/>
          <p:cNvSpPr>
            <a:spLocks noEditPoints="1"/>
          </p:cNvSpPr>
          <p:nvPr/>
        </p:nvSpPr>
        <p:spPr bwMode="auto">
          <a:xfrm>
            <a:off x="1764690" y="2262576"/>
            <a:ext cx="1219142" cy="1219142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rgbClr val="AAAAA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TextBox 288"/>
          <p:cNvSpPr txBox="1"/>
          <p:nvPr/>
        </p:nvSpPr>
        <p:spPr>
          <a:xfrm>
            <a:off x="1331341" y="3981667"/>
            <a:ext cx="220694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Mr./Mrs. John Doe </a:t>
            </a:r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90" name="Straight Connector 289"/>
          <p:cNvCxnSpPr/>
          <p:nvPr/>
        </p:nvCxnSpPr>
        <p:spPr>
          <a:xfrm flipH="1">
            <a:off x="1389012" y="4330797"/>
            <a:ext cx="1945432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Freeform 120"/>
          <p:cNvSpPr>
            <a:spLocks noEditPoints="1"/>
          </p:cNvSpPr>
          <p:nvPr/>
        </p:nvSpPr>
        <p:spPr bwMode="auto">
          <a:xfrm>
            <a:off x="5526380" y="3916183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2 w 96"/>
              <a:gd name="T11" fmla="*/ 46 h 96"/>
              <a:gd name="T12" fmla="*/ 54 w 96"/>
              <a:gd name="T13" fmla="*/ 46 h 96"/>
              <a:gd name="T14" fmla="*/ 54 w 96"/>
              <a:gd name="T15" fmla="*/ 74 h 96"/>
              <a:gd name="T16" fmla="*/ 42 w 96"/>
              <a:gd name="T17" fmla="*/ 74 h 96"/>
              <a:gd name="T18" fmla="*/ 42 w 96"/>
              <a:gd name="T19" fmla="*/ 46 h 96"/>
              <a:gd name="T20" fmla="*/ 34 w 96"/>
              <a:gd name="T21" fmla="*/ 46 h 96"/>
              <a:gd name="T22" fmla="*/ 34 w 96"/>
              <a:gd name="T23" fmla="*/ 38 h 96"/>
              <a:gd name="T24" fmla="*/ 42 w 96"/>
              <a:gd name="T25" fmla="*/ 38 h 96"/>
              <a:gd name="T26" fmla="*/ 42 w 96"/>
              <a:gd name="T27" fmla="*/ 33 h 96"/>
              <a:gd name="T28" fmla="*/ 53 w 96"/>
              <a:gd name="T29" fmla="*/ 22 h 96"/>
              <a:gd name="T30" fmla="*/ 62 w 96"/>
              <a:gd name="T31" fmla="*/ 22 h 96"/>
              <a:gd name="T32" fmla="*/ 62 w 96"/>
              <a:gd name="T33" fmla="*/ 31 h 96"/>
              <a:gd name="T34" fmla="*/ 56 w 96"/>
              <a:gd name="T35" fmla="*/ 31 h 96"/>
              <a:gd name="T36" fmla="*/ 54 w 96"/>
              <a:gd name="T37" fmla="*/ 34 h 96"/>
              <a:gd name="T38" fmla="*/ 54 w 96"/>
              <a:gd name="T39" fmla="*/ 38 h 96"/>
              <a:gd name="T40" fmla="*/ 63 w 96"/>
              <a:gd name="T41" fmla="*/ 38 h 96"/>
              <a:gd name="T42" fmla="*/ 62 w 96"/>
              <a:gd name="T43" fmla="*/ 4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62" y="46"/>
                </a:moveTo>
                <a:cubicBezTo>
                  <a:pt x="54" y="46"/>
                  <a:pt x="54" y="46"/>
                  <a:pt x="54" y="46"/>
                </a:cubicBezTo>
                <a:cubicBezTo>
                  <a:pt x="54" y="58"/>
                  <a:pt x="54" y="74"/>
                  <a:pt x="54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2" y="74"/>
                  <a:pt x="42" y="58"/>
                  <a:pt x="42" y="46"/>
                </a:cubicBezTo>
                <a:cubicBezTo>
                  <a:pt x="34" y="46"/>
                  <a:pt x="34" y="46"/>
                  <a:pt x="34" y="46"/>
                </a:cubicBezTo>
                <a:cubicBezTo>
                  <a:pt x="34" y="38"/>
                  <a:pt x="34" y="38"/>
                  <a:pt x="34" y="38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3"/>
                  <a:pt x="42" y="33"/>
                  <a:pt x="42" y="33"/>
                </a:cubicBezTo>
                <a:cubicBezTo>
                  <a:pt x="42" y="29"/>
                  <a:pt x="43" y="22"/>
                  <a:pt x="53" y="22"/>
                </a:cubicBezTo>
                <a:cubicBezTo>
                  <a:pt x="62" y="22"/>
                  <a:pt x="62" y="22"/>
                  <a:pt x="62" y="22"/>
                </a:cubicBezTo>
                <a:cubicBezTo>
                  <a:pt x="62" y="31"/>
                  <a:pt x="62" y="31"/>
                  <a:pt x="62" y="31"/>
                </a:cubicBezTo>
                <a:cubicBezTo>
                  <a:pt x="62" y="31"/>
                  <a:pt x="57" y="31"/>
                  <a:pt x="56" y="31"/>
                </a:cubicBezTo>
                <a:cubicBezTo>
                  <a:pt x="55" y="31"/>
                  <a:pt x="54" y="32"/>
                  <a:pt x="54" y="34"/>
                </a:cubicBezTo>
                <a:cubicBezTo>
                  <a:pt x="54" y="38"/>
                  <a:pt x="54" y="38"/>
                  <a:pt x="54" y="38"/>
                </a:cubicBezTo>
                <a:cubicBezTo>
                  <a:pt x="63" y="38"/>
                  <a:pt x="63" y="38"/>
                  <a:pt x="63" y="38"/>
                </a:cubicBezTo>
                <a:lnTo>
                  <a:pt x="62" y="46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2" name="Freeform 139"/>
          <p:cNvSpPr>
            <a:spLocks noEditPoints="1"/>
          </p:cNvSpPr>
          <p:nvPr/>
        </p:nvSpPr>
        <p:spPr bwMode="auto">
          <a:xfrm>
            <a:off x="5526380" y="3187010"/>
            <a:ext cx="360363" cy="36195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50 w 96"/>
              <a:gd name="T11" fmla="*/ 58 h 96"/>
              <a:gd name="T12" fmla="*/ 56 w 96"/>
              <a:gd name="T13" fmla="*/ 58 h 96"/>
              <a:gd name="T14" fmla="*/ 62 w 96"/>
              <a:gd name="T15" fmla="*/ 64 h 96"/>
              <a:gd name="T16" fmla="*/ 56 w 96"/>
              <a:gd name="T17" fmla="*/ 70 h 96"/>
              <a:gd name="T18" fmla="*/ 46 w 96"/>
              <a:gd name="T19" fmla="*/ 70 h 96"/>
              <a:gd name="T20" fmla="*/ 30 w 96"/>
              <a:gd name="T21" fmla="*/ 54 h 96"/>
              <a:gd name="T22" fmla="*/ 30 w 96"/>
              <a:gd name="T23" fmla="*/ 28 h 96"/>
              <a:gd name="T24" fmla="*/ 36 w 96"/>
              <a:gd name="T25" fmla="*/ 22 h 96"/>
              <a:gd name="T26" fmla="*/ 42 w 96"/>
              <a:gd name="T27" fmla="*/ 28 h 96"/>
              <a:gd name="T28" fmla="*/ 42 w 96"/>
              <a:gd name="T29" fmla="*/ 34 h 96"/>
              <a:gd name="T30" fmla="*/ 56 w 96"/>
              <a:gd name="T31" fmla="*/ 34 h 96"/>
              <a:gd name="T32" fmla="*/ 62 w 96"/>
              <a:gd name="T33" fmla="*/ 40 h 96"/>
              <a:gd name="T34" fmla="*/ 56 w 96"/>
              <a:gd name="T35" fmla="*/ 46 h 96"/>
              <a:gd name="T36" fmla="*/ 42 w 96"/>
              <a:gd name="T37" fmla="*/ 46 h 96"/>
              <a:gd name="T38" fmla="*/ 42 w 96"/>
              <a:gd name="T39" fmla="*/ 50 h 96"/>
              <a:gd name="T40" fmla="*/ 50 w 96"/>
              <a:gd name="T41" fmla="*/ 5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50" y="58"/>
                </a:moveTo>
                <a:cubicBezTo>
                  <a:pt x="56" y="58"/>
                  <a:pt x="56" y="58"/>
                  <a:pt x="56" y="58"/>
                </a:cubicBezTo>
                <a:cubicBezTo>
                  <a:pt x="59" y="58"/>
                  <a:pt x="62" y="61"/>
                  <a:pt x="62" y="64"/>
                </a:cubicBezTo>
                <a:cubicBezTo>
                  <a:pt x="62" y="67"/>
                  <a:pt x="59" y="70"/>
                  <a:pt x="56" y="70"/>
                </a:cubicBezTo>
                <a:cubicBezTo>
                  <a:pt x="46" y="70"/>
                  <a:pt x="46" y="70"/>
                  <a:pt x="46" y="70"/>
                </a:cubicBezTo>
                <a:cubicBezTo>
                  <a:pt x="37" y="70"/>
                  <a:pt x="30" y="63"/>
                  <a:pt x="30" y="54"/>
                </a:cubicBezTo>
                <a:cubicBezTo>
                  <a:pt x="30" y="28"/>
                  <a:pt x="30" y="28"/>
                  <a:pt x="30" y="28"/>
                </a:cubicBezTo>
                <a:cubicBezTo>
                  <a:pt x="30" y="25"/>
                  <a:pt x="33" y="22"/>
                  <a:pt x="36" y="22"/>
                </a:cubicBezTo>
                <a:cubicBezTo>
                  <a:pt x="39" y="22"/>
                  <a:pt x="42" y="25"/>
                  <a:pt x="42" y="28"/>
                </a:cubicBezTo>
                <a:cubicBezTo>
                  <a:pt x="42" y="34"/>
                  <a:pt x="42" y="34"/>
                  <a:pt x="42" y="34"/>
                </a:cubicBezTo>
                <a:cubicBezTo>
                  <a:pt x="56" y="34"/>
                  <a:pt x="56" y="34"/>
                  <a:pt x="56" y="34"/>
                </a:cubicBezTo>
                <a:cubicBezTo>
                  <a:pt x="59" y="34"/>
                  <a:pt x="62" y="37"/>
                  <a:pt x="62" y="40"/>
                </a:cubicBezTo>
                <a:cubicBezTo>
                  <a:pt x="62" y="43"/>
                  <a:pt x="59" y="46"/>
                  <a:pt x="56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4"/>
                  <a:pt x="46" y="58"/>
                  <a:pt x="50" y="58"/>
                </a:cubicBez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93" name="Group 292"/>
          <p:cNvGrpSpPr/>
          <p:nvPr/>
        </p:nvGrpSpPr>
        <p:grpSpPr>
          <a:xfrm>
            <a:off x="5526380" y="4645356"/>
            <a:ext cx="360363" cy="361950"/>
            <a:chOff x="6997700" y="5000625"/>
            <a:chExt cx="360363" cy="361950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94" name="Freeform 143"/>
            <p:cNvSpPr>
              <a:spLocks/>
            </p:cNvSpPr>
            <p:nvPr/>
          </p:nvSpPr>
          <p:spPr bwMode="auto">
            <a:xfrm>
              <a:off x="7088188" y="5197475"/>
              <a:ext cx="44450" cy="58738"/>
            </a:xfrm>
            <a:custGeom>
              <a:avLst/>
              <a:gdLst>
                <a:gd name="T0" fmla="*/ 10 w 12"/>
                <a:gd name="T1" fmla="*/ 0 h 16"/>
                <a:gd name="T2" fmla="*/ 2 w 12"/>
                <a:gd name="T3" fmla="*/ 0 h 16"/>
                <a:gd name="T4" fmla="*/ 0 w 12"/>
                <a:gd name="T5" fmla="*/ 2 h 16"/>
                <a:gd name="T6" fmla="*/ 2 w 12"/>
                <a:gd name="T7" fmla="*/ 4 h 16"/>
                <a:gd name="T8" fmla="*/ 4 w 12"/>
                <a:gd name="T9" fmla="*/ 4 h 16"/>
                <a:gd name="T10" fmla="*/ 4 w 12"/>
                <a:gd name="T11" fmla="*/ 14 h 16"/>
                <a:gd name="T12" fmla="*/ 6 w 12"/>
                <a:gd name="T13" fmla="*/ 16 h 16"/>
                <a:gd name="T14" fmla="*/ 8 w 12"/>
                <a:gd name="T15" fmla="*/ 14 h 16"/>
                <a:gd name="T16" fmla="*/ 8 w 12"/>
                <a:gd name="T17" fmla="*/ 4 h 16"/>
                <a:gd name="T18" fmla="*/ 10 w 12"/>
                <a:gd name="T19" fmla="*/ 4 h 16"/>
                <a:gd name="T20" fmla="*/ 12 w 12"/>
                <a:gd name="T21" fmla="*/ 2 h 16"/>
                <a:gd name="T22" fmla="*/ 10 w 12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6">
                  <a:moveTo>
                    <a:pt x="1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5" y="16"/>
                    <a:pt x="6" y="16"/>
                  </a:cubicBezTo>
                  <a:cubicBezTo>
                    <a:pt x="7" y="16"/>
                    <a:pt x="8" y="15"/>
                    <a:pt x="8" y="1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2" y="3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5" name="Freeform 144"/>
            <p:cNvSpPr>
              <a:spLocks/>
            </p:cNvSpPr>
            <p:nvPr/>
          </p:nvSpPr>
          <p:spPr bwMode="auto">
            <a:xfrm>
              <a:off x="7162800" y="5106988"/>
              <a:ext cx="15875" cy="30163"/>
            </a:xfrm>
            <a:custGeom>
              <a:avLst/>
              <a:gdLst>
                <a:gd name="T0" fmla="*/ 2 w 4"/>
                <a:gd name="T1" fmla="*/ 8 h 8"/>
                <a:gd name="T2" fmla="*/ 4 w 4"/>
                <a:gd name="T3" fmla="*/ 6 h 8"/>
                <a:gd name="T4" fmla="*/ 4 w 4"/>
                <a:gd name="T5" fmla="*/ 2 h 8"/>
                <a:gd name="T6" fmla="*/ 2 w 4"/>
                <a:gd name="T7" fmla="*/ 0 h 8"/>
                <a:gd name="T8" fmla="*/ 0 w 4"/>
                <a:gd name="T9" fmla="*/ 2 h 8"/>
                <a:gd name="T10" fmla="*/ 0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3" y="8"/>
                    <a:pt x="4" y="7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6" name="Freeform 145"/>
            <p:cNvSpPr>
              <a:spLocks noEditPoints="1"/>
            </p:cNvSpPr>
            <p:nvPr/>
          </p:nvSpPr>
          <p:spPr bwMode="auto">
            <a:xfrm>
              <a:off x="6997700" y="5000625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56 w 96"/>
                <a:gd name="T11" fmla="*/ 28 h 96"/>
                <a:gd name="T12" fmla="*/ 58 w 96"/>
                <a:gd name="T13" fmla="*/ 26 h 96"/>
                <a:gd name="T14" fmla="*/ 60 w 96"/>
                <a:gd name="T15" fmla="*/ 28 h 96"/>
                <a:gd name="T16" fmla="*/ 60 w 96"/>
                <a:gd name="T17" fmla="*/ 34 h 96"/>
                <a:gd name="T18" fmla="*/ 62 w 96"/>
                <a:gd name="T19" fmla="*/ 36 h 96"/>
                <a:gd name="T20" fmla="*/ 64 w 96"/>
                <a:gd name="T21" fmla="*/ 34 h 96"/>
                <a:gd name="T22" fmla="*/ 64 w 96"/>
                <a:gd name="T23" fmla="*/ 28 h 96"/>
                <a:gd name="T24" fmla="*/ 66 w 96"/>
                <a:gd name="T25" fmla="*/ 26 h 96"/>
                <a:gd name="T26" fmla="*/ 68 w 96"/>
                <a:gd name="T27" fmla="*/ 28 h 96"/>
                <a:gd name="T28" fmla="*/ 68 w 96"/>
                <a:gd name="T29" fmla="*/ 34 h 96"/>
                <a:gd name="T30" fmla="*/ 62 w 96"/>
                <a:gd name="T31" fmla="*/ 40 h 96"/>
                <a:gd name="T32" fmla="*/ 56 w 96"/>
                <a:gd name="T33" fmla="*/ 34 h 96"/>
                <a:gd name="T34" fmla="*/ 56 w 96"/>
                <a:gd name="T35" fmla="*/ 28 h 96"/>
                <a:gd name="T36" fmla="*/ 52 w 96"/>
                <a:gd name="T37" fmla="*/ 30 h 96"/>
                <a:gd name="T38" fmla="*/ 52 w 96"/>
                <a:gd name="T39" fmla="*/ 34 h 96"/>
                <a:gd name="T40" fmla="*/ 46 w 96"/>
                <a:gd name="T41" fmla="*/ 40 h 96"/>
                <a:gd name="T42" fmla="*/ 46 w 96"/>
                <a:gd name="T43" fmla="*/ 40 h 96"/>
                <a:gd name="T44" fmla="*/ 40 w 96"/>
                <a:gd name="T45" fmla="*/ 34 h 96"/>
                <a:gd name="T46" fmla="*/ 40 w 96"/>
                <a:gd name="T47" fmla="*/ 30 h 96"/>
                <a:gd name="T48" fmla="*/ 46 w 96"/>
                <a:gd name="T49" fmla="*/ 24 h 96"/>
                <a:gd name="T50" fmla="*/ 52 w 96"/>
                <a:gd name="T51" fmla="*/ 30 h 96"/>
                <a:gd name="T52" fmla="*/ 25 w 96"/>
                <a:gd name="T53" fmla="*/ 15 h 96"/>
                <a:gd name="T54" fmla="*/ 28 w 96"/>
                <a:gd name="T55" fmla="*/ 15 h 96"/>
                <a:gd name="T56" fmla="*/ 34 w 96"/>
                <a:gd name="T57" fmla="*/ 23 h 96"/>
                <a:gd name="T58" fmla="*/ 40 w 96"/>
                <a:gd name="T59" fmla="*/ 15 h 96"/>
                <a:gd name="T60" fmla="*/ 43 w 96"/>
                <a:gd name="T61" fmla="*/ 15 h 96"/>
                <a:gd name="T62" fmla="*/ 43 w 96"/>
                <a:gd name="T63" fmla="*/ 18 h 96"/>
                <a:gd name="T64" fmla="*/ 36 w 96"/>
                <a:gd name="T65" fmla="*/ 27 h 96"/>
                <a:gd name="T66" fmla="*/ 36 w 96"/>
                <a:gd name="T67" fmla="*/ 38 h 96"/>
                <a:gd name="T68" fmla="*/ 34 w 96"/>
                <a:gd name="T69" fmla="*/ 40 h 96"/>
                <a:gd name="T70" fmla="*/ 32 w 96"/>
                <a:gd name="T71" fmla="*/ 38 h 96"/>
                <a:gd name="T72" fmla="*/ 32 w 96"/>
                <a:gd name="T73" fmla="*/ 27 h 96"/>
                <a:gd name="T74" fmla="*/ 25 w 96"/>
                <a:gd name="T75" fmla="*/ 18 h 96"/>
                <a:gd name="T76" fmla="*/ 25 w 96"/>
                <a:gd name="T77" fmla="*/ 15 h 96"/>
                <a:gd name="T78" fmla="*/ 78 w 96"/>
                <a:gd name="T79" fmla="*/ 64 h 96"/>
                <a:gd name="T80" fmla="*/ 68 w 96"/>
                <a:gd name="T81" fmla="*/ 74 h 96"/>
                <a:gd name="T82" fmla="*/ 28 w 96"/>
                <a:gd name="T83" fmla="*/ 74 h 96"/>
                <a:gd name="T84" fmla="*/ 18 w 96"/>
                <a:gd name="T85" fmla="*/ 64 h 96"/>
                <a:gd name="T86" fmla="*/ 18 w 96"/>
                <a:gd name="T87" fmla="*/ 56 h 96"/>
                <a:gd name="T88" fmla="*/ 28 w 96"/>
                <a:gd name="T89" fmla="*/ 46 h 96"/>
                <a:gd name="T90" fmla="*/ 68 w 96"/>
                <a:gd name="T91" fmla="*/ 46 h 96"/>
                <a:gd name="T92" fmla="*/ 78 w 96"/>
                <a:gd name="T93" fmla="*/ 56 h 96"/>
                <a:gd name="T94" fmla="*/ 78 w 96"/>
                <a:gd name="T95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56" y="28"/>
                  </a:moveTo>
                  <a:cubicBezTo>
                    <a:pt x="56" y="27"/>
                    <a:pt x="57" y="26"/>
                    <a:pt x="58" y="26"/>
                  </a:cubicBezTo>
                  <a:cubicBezTo>
                    <a:pt x="59" y="26"/>
                    <a:pt x="60" y="27"/>
                    <a:pt x="60" y="28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5"/>
                    <a:pt x="61" y="36"/>
                    <a:pt x="62" y="36"/>
                  </a:cubicBezTo>
                  <a:cubicBezTo>
                    <a:pt x="63" y="36"/>
                    <a:pt x="64" y="35"/>
                    <a:pt x="64" y="34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7"/>
                    <a:pt x="65" y="26"/>
                    <a:pt x="66" y="26"/>
                  </a:cubicBezTo>
                  <a:cubicBezTo>
                    <a:pt x="67" y="26"/>
                    <a:pt x="68" y="27"/>
                    <a:pt x="68" y="28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7"/>
                    <a:pt x="65" y="40"/>
                    <a:pt x="62" y="40"/>
                  </a:cubicBezTo>
                  <a:cubicBezTo>
                    <a:pt x="59" y="40"/>
                    <a:pt x="56" y="37"/>
                    <a:pt x="56" y="34"/>
                  </a:cubicBezTo>
                  <a:lnTo>
                    <a:pt x="56" y="28"/>
                  </a:lnTo>
                  <a:close/>
                  <a:moveTo>
                    <a:pt x="52" y="30"/>
                  </a:moveTo>
                  <a:cubicBezTo>
                    <a:pt x="52" y="34"/>
                    <a:pt x="52" y="34"/>
                    <a:pt x="52" y="34"/>
                  </a:cubicBezTo>
                  <a:cubicBezTo>
                    <a:pt x="52" y="37"/>
                    <a:pt x="49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3" y="40"/>
                    <a:pt x="40" y="37"/>
                    <a:pt x="40" y="34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27"/>
                    <a:pt x="43" y="24"/>
                    <a:pt x="46" y="24"/>
                  </a:cubicBezTo>
                  <a:cubicBezTo>
                    <a:pt x="49" y="24"/>
                    <a:pt x="52" y="27"/>
                    <a:pt x="52" y="30"/>
                  </a:cubicBezTo>
                  <a:close/>
                  <a:moveTo>
                    <a:pt x="25" y="15"/>
                  </a:moveTo>
                  <a:cubicBezTo>
                    <a:pt x="26" y="14"/>
                    <a:pt x="27" y="15"/>
                    <a:pt x="28" y="15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15"/>
                    <a:pt x="42" y="14"/>
                    <a:pt x="43" y="15"/>
                  </a:cubicBezTo>
                  <a:cubicBezTo>
                    <a:pt x="44" y="16"/>
                    <a:pt x="44" y="17"/>
                    <a:pt x="43" y="18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6" y="39"/>
                    <a:pt x="35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4" y="17"/>
                    <a:pt x="24" y="16"/>
                    <a:pt x="25" y="15"/>
                  </a:cubicBezTo>
                  <a:close/>
                  <a:moveTo>
                    <a:pt x="78" y="64"/>
                  </a:moveTo>
                  <a:cubicBezTo>
                    <a:pt x="78" y="69"/>
                    <a:pt x="73" y="74"/>
                    <a:pt x="6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2" y="74"/>
                    <a:pt x="18" y="69"/>
                    <a:pt x="18" y="64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0"/>
                    <a:pt x="22" y="46"/>
                    <a:pt x="2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73" y="46"/>
                    <a:pt x="78" y="51"/>
                    <a:pt x="78" y="56"/>
                  </a:cubicBezTo>
                  <a:lnTo>
                    <a:pt x="7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7" name="Freeform 146"/>
            <p:cNvSpPr>
              <a:spLocks/>
            </p:cNvSpPr>
            <p:nvPr/>
          </p:nvSpPr>
          <p:spPr bwMode="auto">
            <a:xfrm>
              <a:off x="7132638" y="5211763"/>
              <a:ext cx="46038" cy="44450"/>
            </a:xfrm>
            <a:custGeom>
              <a:avLst/>
              <a:gdLst>
                <a:gd name="T0" fmla="*/ 10 w 12"/>
                <a:gd name="T1" fmla="*/ 0 h 12"/>
                <a:gd name="T2" fmla="*/ 8 w 12"/>
                <a:gd name="T3" fmla="*/ 2 h 12"/>
                <a:gd name="T4" fmla="*/ 8 w 12"/>
                <a:gd name="T5" fmla="*/ 6 h 12"/>
                <a:gd name="T6" fmla="*/ 6 w 12"/>
                <a:gd name="T7" fmla="*/ 8 h 12"/>
                <a:gd name="T8" fmla="*/ 4 w 12"/>
                <a:gd name="T9" fmla="*/ 6 h 12"/>
                <a:gd name="T10" fmla="*/ 4 w 12"/>
                <a:gd name="T11" fmla="*/ 2 h 12"/>
                <a:gd name="T12" fmla="*/ 2 w 12"/>
                <a:gd name="T13" fmla="*/ 0 h 12"/>
                <a:gd name="T14" fmla="*/ 0 w 12"/>
                <a:gd name="T15" fmla="*/ 2 h 12"/>
                <a:gd name="T16" fmla="*/ 0 w 12"/>
                <a:gd name="T17" fmla="*/ 6 h 12"/>
                <a:gd name="T18" fmla="*/ 6 w 12"/>
                <a:gd name="T19" fmla="*/ 12 h 12"/>
                <a:gd name="T20" fmla="*/ 12 w 12"/>
                <a:gd name="T21" fmla="*/ 6 h 12"/>
                <a:gd name="T22" fmla="*/ 12 w 12"/>
                <a:gd name="T23" fmla="*/ 2 h 12"/>
                <a:gd name="T24" fmla="*/ 10 w 12"/>
                <a:gd name="T2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0" y="0"/>
                  </a:moveTo>
                  <a:cubicBezTo>
                    <a:pt x="9" y="0"/>
                    <a:pt x="8" y="1"/>
                    <a:pt x="8" y="2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ubicBezTo>
                    <a:pt x="5" y="8"/>
                    <a:pt x="4" y="7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8" name="Freeform 147"/>
            <p:cNvSpPr>
              <a:spLocks/>
            </p:cNvSpPr>
            <p:nvPr/>
          </p:nvSpPr>
          <p:spPr bwMode="auto">
            <a:xfrm>
              <a:off x="7192963" y="5197475"/>
              <a:ext cx="30163" cy="58738"/>
            </a:xfrm>
            <a:custGeom>
              <a:avLst/>
              <a:gdLst>
                <a:gd name="T0" fmla="*/ 4 w 8"/>
                <a:gd name="T1" fmla="*/ 8 h 16"/>
                <a:gd name="T2" fmla="*/ 4 w 8"/>
                <a:gd name="T3" fmla="*/ 2 h 16"/>
                <a:gd name="T4" fmla="*/ 2 w 8"/>
                <a:gd name="T5" fmla="*/ 0 h 16"/>
                <a:gd name="T6" fmla="*/ 0 w 8"/>
                <a:gd name="T7" fmla="*/ 2 h 16"/>
                <a:gd name="T8" fmla="*/ 0 w 8"/>
                <a:gd name="T9" fmla="*/ 8 h 16"/>
                <a:gd name="T10" fmla="*/ 0 w 8"/>
                <a:gd name="T11" fmla="*/ 14 h 16"/>
                <a:gd name="T12" fmla="*/ 0 w 8"/>
                <a:gd name="T13" fmla="*/ 14 h 16"/>
                <a:gd name="T14" fmla="*/ 2 w 8"/>
                <a:gd name="T15" fmla="*/ 16 h 16"/>
                <a:gd name="T16" fmla="*/ 4 w 8"/>
                <a:gd name="T17" fmla="*/ 16 h 16"/>
                <a:gd name="T18" fmla="*/ 8 w 8"/>
                <a:gd name="T19" fmla="*/ 12 h 16"/>
                <a:gd name="T20" fmla="*/ 4 w 8"/>
                <a:gd name="T2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6">
                  <a:moveTo>
                    <a:pt x="4" y="8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6" y="16"/>
                    <a:pt x="2" y="16"/>
                    <a:pt x="4" y="16"/>
                  </a:cubicBezTo>
                  <a:cubicBezTo>
                    <a:pt x="6" y="16"/>
                    <a:pt x="8" y="14"/>
                    <a:pt x="8" y="12"/>
                  </a:cubicBezTo>
                  <a:cubicBezTo>
                    <a:pt x="8" y="10"/>
                    <a:pt x="6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9" name="Freeform 148"/>
            <p:cNvSpPr>
              <a:spLocks/>
            </p:cNvSpPr>
            <p:nvPr/>
          </p:nvSpPr>
          <p:spPr bwMode="auto">
            <a:xfrm>
              <a:off x="7237413" y="5211763"/>
              <a:ext cx="30163" cy="44450"/>
            </a:xfrm>
            <a:custGeom>
              <a:avLst/>
              <a:gdLst>
                <a:gd name="T0" fmla="*/ 8 w 8"/>
                <a:gd name="T1" fmla="*/ 4 h 12"/>
                <a:gd name="T2" fmla="*/ 4 w 8"/>
                <a:gd name="T3" fmla="*/ 0 h 12"/>
                <a:gd name="T4" fmla="*/ 0 w 8"/>
                <a:gd name="T5" fmla="*/ 4 h 12"/>
                <a:gd name="T6" fmla="*/ 0 w 8"/>
                <a:gd name="T7" fmla="*/ 8 h 12"/>
                <a:gd name="T8" fmla="*/ 4 w 8"/>
                <a:gd name="T9" fmla="*/ 12 h 12"/>
                <a:gd name="T10" fmla="*/ 6 w 8"/>
                <a:gd name="T11" fmla="*/ 12 h 12"/>
                <a:gd name="T12" fmla="*/ 8 w 8"/>
                <a:gd name="T13" fmla="*/ 10 h 12"/>
                <a:gd name="T14" fmla="*/ 6 w 8"/>
                <a:gd name="T15" fmla="*/ 8 h 12"/>
                <a:gd name="T16" fmla="*/ 4 w 8"/>
                <a:gd name="T17" fmla="*/ 8 h 12"/>
                <a:gd name="T18" fmla="*/ 8 w 8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2">
                  <a:moveTo>
                    <a:pt x="8" y="4"/>
                  </a:move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8" y="11"/>
                    <a:pt x="8" y="10"/>
                  </a:cubicBezTo>
                  <a:cubicBezTo>
                    <a:pt x="8" y="9"/>
                    <a:pt x="7" y="8"/>
                    <a:pt x="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8" y="6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00" name="Group 299"/>
          <p:cNvGrpSpPr/>
          <p:nvPr/>
        </p:nvGrpSpPr>
        <p:grpSpPr>
          <a:xfrm>
            <a:off x="5526380" y="5374528"/>
            <a:ext cx="360363" cy="361950"/>
            <a:chOff x="7718425" y="5722938"/>
            <a:chExt cx="360363" cy="361950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01" name="Freeform 179"/>
            <p:cNvSpPr>
              <a:spLocks/>
            </p:cNvSpPr>
            <p:nvPr/>
          </p:nvSpPr>
          <p:spPr bwMode="auto">
            <a:xfrm>
              <a:off x="7835900" y="5813425"/>
              <a:ext cx="74613" cy="79375"/>
            </a:xfrm>
            <a:custGeom>
              <a:avLst/>
              <a:gdLst>
                <a:gd name="T0" fmla="*/ 20 w 20"/>
                <a:gd name="T1" fmla="*/ 10 h 21"/>
                <a:gd name="T2" fmla="*/ 16 w 20"/>
                <a:gd name="T3" fmla="*/ 3 h 21"/>
                <a:gd name="T4" fmla="*/ 9 w 20"/>
                <a:gd name="T5" fmla="*/ 0 h 21"/>
                <a:gd name="T6" fmla="*/ 2 w 20"/>
                <a:gd name="T7" fmla="*/ 3 h 21"/>
                <a:gd name="T8" fmla="*/ 0 w 20"/>
                <a:gd name="T9" fmla="*/ 10 h 21"/>
                <a:gd name="T10" fmla="*/ 3 w 20"/>
                <a:gd name="T11" fmla="*/ 17 h 21"/>
                <a:gd name="T12" fmla="*/ 17 w 20"/>
                <a:gd name="T13" fmla="*/ 17 h 21"/>
                <a:gd name="T14" fmla="*/ 20 w 20"/>
                <a:gd name="T15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20" y="10"/>
                  </a:moveTo>
                  <a:cubicBezTo>
                    <a:pt x="20" y="8"/>
                    <a:pt x="18" y="5"/>
                    <a:pt x="16" y="3"/>
                  </a:cubicBezTo>
                  <a:cubicBezTo>
                    <a:pt x="14" y="1"/>
                    <a:pt x="12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7"/>
                    <a:pt x="0" y="10"/>
                  </a:cubicBezTo>
                  <a:cubicBezTo>
                    <a:pt x="0" y="12"/>
                    <a:pt x="1" y="15"/>
                    <a:pt x="3" y="17"/>
                  </a:cubicBezTo>
                  <a:cubicBezTo>
                    <a:pt x="7" y="21"/>
                    <a:pt x="13" y="21"/>
                    <a:pt x="17" y="17"/>
                  </a:cubicBezTo>
                  <a:cubicBezTo>
                    <a:pt x="19" y="15"/>
                    <a:pt x="20" y="13"/>
                    <a:pt x="2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2" name="Oval 180"/>
            <p:cNvSpPr>
              <a:spLocks noChangeArrowheads="1"/>
            </p:cNvSpPr>
            <p:nvPr/>
          </p:nvSpPr>
          <p:spPr bwMode="auto">
            <a:xfrm>
              <a:off x="7812088" y="5937250"/>
              <a:ext cx="120650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3" name="Freeform 181"/>
            <p:cNvSpPr>
              <a:spLocks noEditPoints="1"/>
            </p:cNvSpPr>
            <p:nvPr/>
          </p:nvSpPr>
          <p:spPr bwMode="auto">
            <a:xfrm>
              <a:off x="7718425" y="572293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41 w 96"/>
                <a:gd name="T11" fmla="*/ 78 h 96"/>
                <a:gd name="T12" fmla="*/ 21 w 96"/>
                <a:gd name="T13" fmla="*/ 65 h 96"/>
                <a:gd name="T14" fmla="*/ 41 w 96"/>
                <a:gd name="T15" fmla="*/ 53 h 96"/>
                <a:gd name="T16" fmla="*/ 50 w 96"/>
                <a:gd name="T17" fmla="*/ 54 h 96"/>
                <a:gd name="T18" fmla="*/ 45 w 96"/>
                <a:gd name="T19" fmla="*/ 48 h 96"/>
                <a:gd name="T20" fmla="*/ 41 w 96"/>
                <a:gd name="T21" fmla="*/ 48 h 96"/>
                <a:gd name="T22" fmla="*/ 31 w 96"/>
                <a:gd name="T23" fmla="*/ 44 h 96"/>
                <a:gd name="T24" fmla="*/ 27 w 96"/>
                <a:gd name="T25" fmla="*/ 34 h 96"/>
                <a:gd name="T26" fmla="*/ 31 w 96"/>
                <a:gd name="T27" fmla="*/ 24 h 96"/>
                <a:gd name="T28" fmla="*/ 40 w 96"/>
                <a:gd name="T29" fmla="*/ 20 h 96"/>
                <a:gd name="T30" fmla="*/ 40 w 96"/>
                <a:gd name="T31" fmla="*/ 20 h 96"/>
                <a:gd name="T32" fmla="*/ 56 w 96"/>
                <a:gd name="T33" fmla="*/ 20 h 96"/>
                <a:gd name="T34" fmla="*/ 56 w 96"/>
                <a:gd name="T35" fmla="*/ 24 h 96"/>
                <a:gd name="T36" fmla="*/ 50 w 96"/>
                <a:gd name="T37" fmla="*/ 24 h 96"/>
                <a:gd name="T38" fmla="*/ 50 w 96"/>
                <a:gd name="T39" fmla="*/ 24 h 96"/>
                <a:gd name="T40" fmla="*/ 55 w 96"/>
                <a:gd name="T41" fmla="*/ 34 h 96"/>
                <a:gd name="T42" fmla="*/ 51 w 96"/>
                <a:gd name="T43" fmla="*/ 44 h 96"/>
                <a:gd name="T44" fmla="*/ 49 w 96"/>
                <a:gd name="T45" fmla="*/ 46 h 96"/>
                <a:gd name="T46" fmla="*/ 52 w 96"/>
                <a:gd name="T47" fmla="*/ 51 h 96"/>
                <a:gd name="T48" fmla="*/ 61 w 96"/>
                <a:gd name="T49" fmla="*/ 65 h 96"/>
                <a:gd name="T50" fmla="*/ 41 w 96"/>
                <a:gd name="T51" fmla="*/ 78 h 96"/>
                <a:gd name="T52" fmla="*/ 80 w 96"/>
                <a:gd name="T53" fmla="*/ 40 h 96"/>
                <a:gd name="T54" fmla="*/ 72 w 96"/>
                <a:gd name="T55" fmla="*/ 40 h 96"/>
                <a:gd name="T56" fmla="*/ 72 w 96"/>
                <a:gd name="T57" fmla="*/ 48 h 96"/>
                <a:gd name="T58" fmla="*/ 68 w 96"/>
                <a:gd name="T59" fmla="*/ 48 h 96"/>
                <a:gd name="T60" fmla="*/ 68 w 96"/>
                <a:gd name="T61" fmla="*/ 40 h 96"/>
                <a:gd name="T62" fmla="*/ 60 w 96"/>
                <a:gd name="T63" fmla="*/ 40 h 96"/>
                <a:gd name="T64" fmla="*/ 60 w 96"/>
                <a:gd name="T65" fmla="*/ 36 h 96"/>
                <a:gd name="T66" fmla="*/ 68 w 96"/>
                <a:gd name="T67" fmla="*/ 36 h 96"/>
                <a:gd name="T68" fmla="*/ 68 w 96"/>
                <a:gd name="T69" fmla="*/ 28 h 96"/>
                <a:gd name="T70" fmla="*/ 72 w 96"/>
                <a:gd name="T71" fmla="*/ 28 h 96"/>
                <a:gd name="T72" fmla="*/ 72 w 96"/>
                <a:gd name="T73" fmla="*/ 36 h 96"/>
                <a:gd name="T74" fmla="*/ 80 w 96"/>
                <a:gd name="T75" fmla="*/ 36 h 96"/>
                <a:gd name="T76" fmla="*/ 80 w 96"/>
                <a:gd name="T77" fmla="*/ 4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41" y="78"/>
                  </a:moveTo>
                  <a:cubicBezTo>
                    <a:pt x="29" y="78"/>
                    <a:pt x="21" y="72"/>
                    <a:pt x="21" y="65"/>
                  </a:cubicBezTo>
                  <a:cubicBezTo>
                    <a:pt x="21" y="58"/>
                    <a:pt x="29" y="53"/>
                    <a:pt x="41" y="53"/>
                  </a:cubicBezTo>
                  <a:cubicBezTo>
                    <a:pt x="44" y="53"/>
                    <a:pt x="47" y="53"/>
                    <a:pt x="50" y="54"/>
                  </a:cubicBezTo>
                  <a:cubicBezTo>
                    <a:pt x="47" y="53"/>
                    <a:pt x="45" y="51"/>
                    <a:pt x="45" y="48"/>
                  </a:cubicBezTo>
                  <a:cubicBezTo>
                    <a:pt x="44" y="48"/>
                    <a:pt x="42" y="48"/>
                    <a:pt x="41" y="48"/>
                  </a:cubicBezTo>
                  <a:cubicBezTo>
                    <a:pt x="38" y="48"/>
                    <a:pt x="34" y="46"/>
                    <a:pt x="31" y="44"/>
                  </a:cubicBezTo>
                  <a:cubicBezTo>
                    <a:pt x="28" y="41"/>
                    <a:pt x="27" y="37"/>
                    <a:pt x="27" y="34"/>
                  </a:cubicBezTo>
                  <a:cubicBezTo>
                    <a:pt x="27" y="30"/>
                    <a:pt x="28" y="26"/>
                    <a:pt x="31" y="24"/>
                  </a:cubicBezTo>
                  <a:cubicBezTo>
                    <a:pt x="33" y="21"/>
                    <a:pt x="37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3" y="27"/>
                    <a:pt x="54" y="31"/>
                    <a:pt x="55" y="34"/>
                  </a:cubicBezTo>
                  <a:cubicBezTo>
                    <a:pt x="55" y="38"/>
                    <a:pt x="53" y="42"/>
                    <a:pt x="51" y="44"/>
                  </a:cubicBezTo>
                  <a:cubicBezTo>
                    <a:pt x="50" y="45"/>
                    <a:pt x="49" y="45"/>
                    <a:pt x="49" y="46"/>
                  </a:cubicBezTo>
                  <a:cubicBezTo>
                    <a:pt x="48" y="48"/>
                    <a:pt x="49" y="49"/>
                    <a:pt x="52" y="51"/>
                  </a:cubicBezTo>
                  <a:cubicBezTo>
                    <a:pt x="56" y="53"/>
                    <a:pt x="61" y="57"/>
                    <a:pt x="61" y="65"/>
                  </a:cubicBezTo>
                  <a:cubicBezTo>
                    <a:pt x="61" y="72"/>
                    <a:pt x="52" y="78"/>
                    <a:pt x="41" y="78"/>
                  </a:cubicBezTo>
                  <a:close/>
                  <a:moveTo>
                    <a:pt x="80" y="40"/>
                  </a:moveTo>
                  <a:cubicBezTo>
                    <a:pt x="72" y="40"/>
                    <a:pt x="72" y="40"/>
                    <a:pt x="72" y="40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80" y="36"/>
                    <a:pt x="80" y="36"/>
                    <a:pt x="80" y="36"/>
                  </a:cubicBezTo>
                  <a:lnTo>
                    <a:pt x="8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806583" y="1147949"/>
            <a:ext cx="1371600" cy="110556"/>
            <a:chOff x="-170626" y="0"/>
            <a:chExt cx="13534857" cy="166915"/>
          </a:xfrm>
        </p:grpSpPr>
        <p:sp>
          <p:nvSpPr>
            <p:cNvPr id="317" name="Parallelogram 316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Parallelogram 317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Parallelogram 318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5302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8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531" r="16531"/>
          <a:stretch>
            <a:fillRect/>
          </a:stretch>
        </p:blipFill>
        <p:spPr/>
      </p:pic>
      <p:pic>
        <p:nvPicPr>
          <p:cNvPr id="35" name="Picture Placeholder 34"/>
          <p:cNvPicPr>
            <a:picLocks noGrp="1" noChangeAspect="1"/>
          </p:cNvPicPr>
          <p:nvPr>
            <p:ph type="pic" sz="quarter" idx="17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67" r="16667"/>
          <a:stretch>
            <a:fillRect/>
          </a:stretch>
        </p:blipFill>
        <p:spPr/>
      </p:pic>
      <p:pic>
        <p:nvPicPr>
          <p:cNvPr id="34" name="Picture Placeholder 33"/>
          <p:cNvPicPr>
            <a:picLocks noGrp="1" noChangeAspect="1"/>
          </p:cNvPicPr>
          <p:nvPr>
            <p:ph type="pic" sz="quarter" idx="16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262" r="15262"/>
          <a:stretch>
            <a:fillRect/>
          </a:stretch>
        </p:blipFill>
        <p:spPr/>
      </p:pic>
      <p:pic>
        <p:nvPicPr>
          <p:cNvPr id="33" name="Picture Placeholder 32"/>
          <p:cNvPicPr>
            <a:picLocks noGrp="1" noChangeAspect="1"/>
          </p:cNvPicPr>
          <p:nvPr>
            <p:ph type="pic" sz="quarter" idx="15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61" r="16661"/>
          <a:stretch>
            <a:fillRect/>
          </a:stretch>
        </p:blipFill>
        <p:spPr/>
      </p:pic>
      <p:pic>
        <p:nvPicPr>
          <p:cNvPr id="32" name="Picture Placeholder 31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64" r="16664"/>
          <a:stretch>
            <a:fillRect/>
          </a:stretch>
        </p:blipFill>
        <p:spPr/>
      </p:pic>
      <p:pic>
        <p:nvPicPr>
          <p:cNvPr id="31" name="Picture Placeholder 30"/>
          <p:cNvPicPr>
            <a:picLocks noGrp="1" noChangeAspect="1"/>
          </p:cNvPicPr>
          <p:nvPr>
            <p:ph type="pic" sz="quarter" idx="13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302" name="Oval 301"/>
          <p:cNvSpPr/>
          <p:nvPr/>
        </p:nvSpPr>
        <p:spPr>
          <a:xfrm>
            <a:off x="2827042" y="4092574"/>
            <a:ext cx="1162050" cy="1162050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3" name="Oval 302"/>
          <p:cNvSpPr/>
          <p:nvPr/>
        </p:nvSpPr>
        <p:spPr>
          <a:xfrm>
            <a:off x="4595379" y="4092574"/>
            <a:ext cx="1162050" cy="1162050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4" name="Oval 303"/>
          <p:cNvSpPr/>
          <p:nvPr/>
        </p:nvSpPr>
        <p:spPr>
          <a:xfrm>
            <a:off x="6353731" y="4092574"/>
            <a:ext cx="1162050" cy="1162050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5" name="Oval 304"/>
          <p:cNvSpPr/>
          <p:nvPr/>
        </p:nvSpPr>
        <p:spPr>
          <a:xfrm>
            <a:off x="8127623" y="4092574"/>
            <a:ext cx="1162050" cy="1162050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6" name="Oval 305"/>
          <p:cNvSpPr/>
          <p:nvPr/>
        </p:nvSpPr>
        <p:spPr>
          <a:xfrm>
            <a:off x="9893745" y="4092574"/>
            <a:ext cx="1162050" cy="1162050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7" name="Oval 326"/>
          <p:cNvSpPr/>
          <p:nvPr/>
        </p:nvSpPr>
        <p:spPr>
          <a:xfrm>
            <a:off x="1101567" y="4092574"/>
            <a:ext cx="1162050" cy="1162050"/>
          </a:xfrm>
          <a:prstGeom prst="ellipse">
            <a:avLst/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4930775" y="1449386"/>
            <a:ext cx="2336800" cy="2330450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CIRCLE DIAGRAM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8" name="TextBox 257"/>
          <p:cNvSpPr txBox="1"/>
          <p:nvPr/>
        </p:nvSpPr>
        <p:spPr>
          <a:xfrm>
            <a:off x="5578396" y="2361479"/>
            <a:ext cx="1035209" cy="4924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 smtClean="0"/>
              <a:t>LOREM IPSUM</a:t>
            </a:r>
            <a:endParaRPr lang="en-US" sz="1600" dirty="0"/>
          </a:p>
        </p:txBody>
      </p:sp>
      <p:cxnSp>
        <p:nvCxnSpPr>
          <p:cNvPr id="255" name="Straight Connector 254"/>
          <p:cNvCxnSpPr/>
          <p:nvPr/>
        </p:nvCxnSpPr>
        <p:spPr>
          <a:xfrm>
            <a:off x="1732355" y="3927662"/>
            <a:ext cx="8727290" cy="0"/>
          </a:xfrm>
          <a:prstGeom prst="line">
            <a:avLst/>
          </a:pr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Oval 255"/>
          <p:cNvSpPr/>
          <p:nvPr/>
        </p:nvSpPr>
        <p:spPr>
          <a:xfrm>
            <a:off x="8665785" y="3884800"/>
            <a:ext cx="85726" cy="8572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7" name="Oval 256"/>
          <p:cNvSpPr/>
          <p:nvPr/>
        </p:nvSpPr>
        <p:spPr>
          <a:xfrm>
            <a:off x="3365204" y="3884800"/>
            <a:ext cx="85726" cy="8572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6" name="Oval 295"/>
          <p:cNvSpPr/>
          <p:nvPr/>
        </p:nvSpPr>
        <p:spPr>
          <a:xfrm>
            <a:off x="6899663" y="3884800"/>
            <a:ext cx="85726" cy="8572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7" name="Oval 296"/>
          <p:cNvSpPr/>
          <p:nvPr/>
        </p:nvSpPr>
        <p:spPr>
          <a:xfrm>
            <a:off x="5133541" y="3884800"/>
            <a:ext cx="85726" cy="8572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8" name="Group 307"/>
          <p:cNvGrpSpPr/>
          <p:nvPr/>
        </p:nvGrpSpPr>
        <p:grpSpPr>
          <a:xfrm>
            <a:off x="1047962" y="4040693"/>
            <a:ext cx="1269262" cy="1265812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09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2" name="Group 331"/>
          <p:cNvGrpSpPr/>
          <p:nvPr/>
        </p:nvGrpSpPr>
        <p:grpSpPr>
          <a:xfrm>
            <a:off x="2773357" y="4040693"/>
            <a:ext cx="1269262" cy="1265812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33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9" name="Group 338"/>
          <p:cNvGrpSpPr/>
          <p:nvPr/>
        </p:nvGrpSpPr>
        <p:grpSpPr>
          <a:xfrm>
            <a:off x="4497188" y="4040693"/>
            <a:ext cx="1269262" cy="1265812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40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6" name="Group 345"/>
          <p:cNvGrpSpPr/>
          <p:nvPr/>
        </p:nvGrpSpPr>
        <p:grpSpPr>
          <a:xfrm>
            <a:off x="6307816" y="4040693"/>
            <a:ext cx="1269262" cy="1265812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47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3" name="Group 352"/>
          <p:cNvGrpSpPr/>
          <p:nvPr/>
        </p:nvGrpSpPr>
        <p:grpSpPr>
          <a:xfrm>
            <a:off x="8073938" y="4040693"/>
            <a:ext cx="1269262" cy="1265812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54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2" name="Group 361"/>
          <p:cNvGrpSpPr/>
          <p:nvPr/>
        </p:nvGrpSpPr>
        <p:grpSpPr>
          <a:xfrm>
            <a:off x="9840060" y="4040693"/>
            <a:ext cx="1269262" cy="1265812"/>
            <a:chOff x="4930775" y="1601788"/>
            <a:chExt cx="2336800" cy="233045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63" name="Freeform 5"/>
            <p:cNvSpPr>
              <a:spLocks/>
            </p:cNvSpPr>
            <p:nvPr/>
          </p:nvSpPr>
          <p:spPr bwMode="auto">
            <a:xfrm>
              <a:off x="6183313" y="3249613"/>
              <a:ext cx="884238" cy="682625"/>
            </a:xfrm>
            <a:custGeom>
              <a:avLst/>
              <a:gdLst>
                <a:gd name="T0" fmla="*/ 93 w 141"/>
                <a:gd name="T1" fmla="*/ 0 h 109"/>
                <a:gd name="T2" fmla="*/ 141 w 141"/>
                <a:gd name="T3" fmla="*/ 28 h 109"/>
                <a:gd name="T4" fmla="*/ 0 w 141"/>
                <a:gd name="T5" fmla="*/ 109 h 109"/>
                <a:gd name="T6" fmla="*/ 0 w 141"/>
                <a:gd name="T7" fmla="*/ 54 h 109"/>
                <a:gd name="T8" fmla="*/ 93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93" y="0"/>
                  </a:moveTo>
                  <a:cubicBezTo>
                    <a:pt x="141" y="28"/>
                    <a:pt x="141" y="28"/>
                    <a:pt x="141" y="28"/>
                  </a:cubicBezTo>
                  <a:cubicBezTo>
                    <a:pt x="110" y="74"/>
                    <a:pt x="59" y="105"/>
                    <a:pt x="0" y="10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0"/>
                    <a:pt x="72" y="30"/>
                    <a:pt x="93" y="0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6"/>
            <p:cNvSpPr>
              <a:spLocks/>
            </p:cNvSpPr>
            <p:nvPr/>
          </p:nvSpPr>
          <p:spPr bwMode="auto">
            <a:xfrm>
              <a:off x="6183313" y="1601788"/>
              <a:ext cx="884238" cy="682625"/>
            </a:xfrm>
            <a:custGeom>
              <a:avLst/>
              <a:gdLst>
                <a:gd name="T0" fmla="*/ 0 w 141"/>
                <a:gd name="T1" fmla="*/ 55 h 109"/>
                <a:gd name="T2" fmla="*/ 0 w 141"/>
                <a:gd name="T3" fmla="*/ 0 h 109"/>
                <a:gd name="T4" fmla="*/ 141 w 141"/>
                <a:gd name="T5" fmla="*/ 82 h 109"/>
                <a:gd name="T6" fmla="*/ 93 w 141"/>
                <a:gd name="T7" fmla="*/ 109 h 109"/>
                <a:gd name="T8" fmla="*/ 0 w 141"/>
                <a:gd name="T9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0" y="5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9" y="4"/>
                    <a:pt x="110" y="36"/>
                    <a:pt x="141" y="82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72" y="79"/>
                    <a:pt x="38" y="59"/>
                    <a:pt x="0" y="55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7"/>
            <p:cNvSpPr>
              <a:spLocks/>
            </p:cNvSpPr>
            <p:nvPr/>
          </p:nvSpPr>
          <p:spPr bwMode="auto">
            <a:xfrm>
              <a:off x="4930775" y="2259013"/>
              <a:ext cx="412750" cy="1020763"/>
            </a:xfrm>
            <a:custGeom>
              <a:avLst/>
              <a:gdLst>
                <a:gd name="T0" fmla="*/ 55 w 66"/>
                <a:gd name="T1" fmla="*/ 81 h 163"/>
                <a:gd name="T2" fmla="*/ 66 w 66"/>
                <a:gd name="T3" fmla="*/ 135 h 163"/>
                <a:gd name="T4" fmla="*/ 19 w 66"/>
                <a:gd name="T5" fmla="*/ 163 h 163"/>
                <a:gd name="T6" fmla="*/ 0 w 66"/>
                <a:gd name="T7" fmla="*/ 81 h 163"/>
                <a:gd name="T8" fmla="*/ 19 w 66"/>
                <a:gd name="T9" fmla="*/ 0 h 163"/>
                <a:gd name="T10" fmla="*/ 66 w 66"/>
                <a:gd name="T11" fmla="*/ 27 h 163"/>
                <a:gd name="T12" fmla="*/ 55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55" y="81"/>
                  </a:moveTo>
                  <a:cubicBezTo>
                    <a:pt x="55" y="100"/>
                    <a:pt x="59" y="119"/>
                    <a:pt x="66" y="135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7" y="138"/>
                    <a:pt x="0" y="110"/>
                    <a:pt x="0" y="81"/>
                  </a:cubicBezTo>
                  <a:cubicBezTo>
                    <a:pt x="0" y="52"/>
                    <a:pt x="7" y="24"/>
                    <a:pt x="19" y="0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59" y="44"/>
                    <a:pt x="55" y="62"/>
                    <a:pt x="55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8"/>
            <p:cNvSpPr>
              <a:spLocks/>
            </p:cNvSpPr>
            <p:nvPr/>
          </p:nvSpPr>
          <p:spPr bwMode="auto">
            <a:xfrm>
              <a:off x="5130800" y="1601788"/>
              <a:ext cx="884238" cy="682625"/>
            </a:xfrm>
            <a:custGeom>
              <a:avLst/>
              <a:gdLst>
                <a:gd name="T0" fmla="*/ 48 w 141"/>
                <a:gd name="T1" fmla="*/ 109 h 109"/>
                <a:gd name="T2" fmla="*/ 0 w 141"/>
                <a:gd name="T3" fmla="*/ 82 h 109"/>
                <a:gd name="T4" fmla="*/ 141 w 141"/>
                <a:gd name="T5" fmla="*/ 0 h 109"/>
                <a:gd name="T6" fmla="*/ 141 w 141"/>
                <a:gd name="T7" fmla="*/ 55 h 109"/>
                <a:gd name="T8" fmla="*/ 48 w 14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48" y="109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31" y="36"/>
                    <a:pt x="82" y="4"/>
                    <a:pt x="141" y="0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03" y="59"/>
                    <a:pt x="69" y="79"/>
                    <a:pt x="48" y="109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9"/>
            <p:cNvSpPr>
              <a:spLocks/>
            </p:cNvSpPr>
            <p:nvPr/>
          </p:nvSpPr>
          <p:spPr bwMode="auto">
            <a:xfrm>
              <a:off x="5130800" y="3249613"/>
              <a:ext cx="884238" cy="682625"/>
            </a:xfrm>
            <a:custGeom>
              <a:avLst/>
              <a:gdLst>
                <a:gd name="T0" fmla="*/ 141 w 141"/>
                <a:gd name="T1" fmla="*/ 54 h 109"/>
                <a:gd name="T2" fmla="*/ 141 w 141"/>
                <a:gd name="T3" fmla="*/ 109 h 109"/>
                <a:gd name="T4" fmla="*/ 0 w 141"/>
                <a:gd name="T5" fmla="*/ 28 h 109"/>
                <a:gd name="T6" fmla="*/ 48 w 141"/>
                <a:gd name="T7" fmla="*/ 0 h 109"/>
                <a:gd name="T8" fmla="*/ 141 w 141"/>
                <a:gd name="T9" fmla="*/ 5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41" y="54"/>
                  </a:moveTo>
                  <a:cubicBezTo>
                    <a:pt x="141" y="109"/>
                    <a:pt x="141" y="109"/>
                    <a:pt x="141" y="109"/>
                  </a:cubicBezTo>
                  <a:cubicBezTo>
                    <a:pt x="82" y="105"/>
                    <a:pt x="31" y="74"/>
                    <a:pt x="0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9" y="30"/>
                    <a:pt x="103" y="50"/>
                    <a:pt x="141" y="54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10"/>
            <p:cNvSpPr>
              <a:spLocks/>
            </p:cNvSpPr>
            <p:nvPr/>
          </p:nvSpPr>
          <p:spPr bwMode="auto">
            <a:xfrm>
              <a:off x="6854825" y="2259013"/>
              <a:ext cx="412750" cy="1020763"/>
            </a:xfrm>
            <a:custGeom>
              <a:avLst/>
              <a:gdLst>
                <a:gd name="T0" fmla="*/ 11 w 66"/>
                <a:gd name="T1" fmla="*/ 81 h 163"/>
                <a:gd name="T2" fmla="*/ 0 w 66"/>
                <a:gd name="T3" fmla="*/ 27 h 163"/>
                <a:gd name="T4" fmla="*/ 47 w 66"/>
                <a:gd name="T5" fmla="*/ 0 h 163"/>
                <a:gd name="T6" fmla="*/ 66 w 66"/>
                <a:gd name="T7" fmla="*/ 81 h 163"/>
                <a:gd name="T8" fmla="*/ 47 w 66"/>
                <a:gd name="T9" fmla="*/ 163 h 163"/>
                <a:gd name="T10" fmla="*/ 0 w 66"/>
                <a:gd name="T11" fmla="*/ 135 h 163"/>
                <a:gd name="T12" fmla="*/ 11 w 66"/>
                <a:gd name="T1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63">
                  <a:moveTo>
                    <a:pt x="11" y="81"/>
                  </a:moveTo>
                  <a:cubicBezTo>
                    <a:pt x="11" y="62"/>
                    <a:pt x="7" y="44"/>
                    <a:pt x="0" y="27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9" y="24"/>
                    <a:pt x="66" y="52"/>
                    <a:pt x="66" y="81"/>
                  </a:cubicBezTo>
                  <a:cubicBezTo>
                    <a:pt x="66" y="110"/>
                    <a:pt x="59" y="138"/>
                    <a:pt x="47" y="163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7" y="119"/>
                    <a:pt x="11" y="100"/>
                    <a:pt x="11" y="81"/>
                  </a:cubicBez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9" name="Group 368"/>
          <p:cNvGrpSpPr/>
          <p:nvPr/>
        </p:nvGrpSpPr>
        <p:grpSpPr>
          <a:xfrm>
            <a:off x="3268424" y="4564458"/>
            <a:ext cx="282575" cy="249238"/>
            <a:chOff x="5465763" y="812800"/>
            <a:chExt cx="282575" cy="2492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70" name="Freeform 642"/>
            <p:cNvSpPr>
              <a:spLocks noEditPoints="1"/>
            </p:cNvSpPr>
            <p:nvPr/>
          </p:nvSpPr>
          <p:spPr bwMode="auto">
            <a:xfrm>
              <a:off x="5527675" y="812800"/>
              <a:ext cx="63500" cy="247650"/>
            </a:xfrm>
            <a:custGeom>
              <a:avLst/>
              <a:gdLst>
                <a:gd name="T0" fmla="*/ 147 w 196"/>
                <a:gd name="T1" fmla="*/ 720 h 782"/>
                <a:gd name="T2" fmla="*/ 145 w 196"/>
                <a:gd name="T3" fmla="*/ 725 h 782"/>
                <a:gd name="T4" fmla="*/ 142 w 196"/>
                <a:gd name="T5" fmla="*/ 729 h 782"/>
                <a:gd name="T6" fmla="*/ 136 w 196"/>
                <a:gd name="T7" fmla="*/ 732 h 782"/>
                <a:gd name="T8" fmla="*/ 55 w 196"/>
                <a:gd name="T9" fmla="*/ 732 h 782"/>
                <a:gd name="T10" fmla="*/ 48 w 196"/>
                <a:gd name="T11" fmla="*/ 731 h 782"/>
                <a:gd name="T12" fmla="*/ 44 w 196"/>
                <a:gd name="T13" fmla="*/ 727 h 782"/>
                <a:gd name="T14" fmla="*/ 41 w 196"/>
                <a:gd name="T15" fmla="*/ 723 h 782"/>
                <a:gd name="T16" fmla="*/ 40 w 196"/>
                <a:gd name="T17" fmla="*/ 717 h 782"/>
                <a:gd name="T18" fmla="*/ 40 w 196"/>
                <a:gd name="T19" fmla="*/ 558 h 782"/>
                <a:gd name="T20" fmla="*/ 42 w 196"/>
                <a:gd name="T21" fmla="*/ 552 h 782"/>
                <a:gd name="T22" fmla="*/ 46 w 196"/>
                <a:gd name="T23" fmla="*/ 548 h 782"/>
                <a:gd name="T24" fmla="*/ 52 w 196"/>
                <a:gd name="T25" fmla="*/ 546 h 782"/>
                <a:gd name="T26" fmla="*/ 133 w 196"/>
                <a:gd name="T27" fmla="*/ 546 h 782"/>
                <a:gd name="T28" fmla="*/ 139 w 196"/>
                <a:gd name="T29" fmla="*/ 547 h 782"/>
                <a:gd name="T30" fmla="*/ 144 w 196"/>
                <a:gd name="T31" fmla="*/ 550 h 782"/>
                <a:gd name="T32" fmla="*/ 147 w 196"/>
                <a:gd name="T33" fmla="*/ 555 h 782"/>
                <a:gd name="T34" fmla="*/ 148 w 196"/>
                <a:gd name="T35" fmla="*/ 561 h 782"/>
                <a:gd name="T36" fmla="*/ 66 w 196"/>
                <a:gd name="T37" fmla="*/ 91 h 782"/>
                <a:gd name="T38" fmla="*/ 67 w 196"/>
                <a:gd name="T39" fmla="*/ 85 h 782"/>
                <a:gd name="T40" fmla="*/ 70 w 196"/>
                <a:gd name="T41" fmla="*/ 81 h 782"/>
                <a:gd name="T42" fmla="*/ 75 w 196"/>
                <a:gd name="T43" fmla="*/ 77 h 782"/>
                <a:gd name="T44" fmla="*/ 81 w 196"/>
                <a:gd name="T45" fmla="*/ 76 h 782"/>
                <a:gd name="T46" fmla="*/ 87 w 196"/>
                <a:gd name="T47" fmla="*/ 77 h 782"/>
                <a:gd name="T48" fmla="*/ 91 w 196"/>
                <a:gd name="T49" fmla="*/ 81 h 782"/>
                <a:gd name="T50" fmla="*/ 95 w 196"/>
                <a:gd name="T51" fmla="*/ 85 h 782"/>
                <a:gd name="T52" fmla="*/ 96 w 196"/>
                <a:gd name="T53" fmla="*/ 91 h 782"/>
                <a:gd name="T54" fmla="*/ 96 w 196"/>
                <a:gd name="T55" fmla="*/ 512 h 782"/>
                <a:gd name="T56" fmla="*/ 93 w 196"/>
                <a:gd name="T57" fmla="*/ 517 h 782"/>
                <a:gd name="T58" fmla="*/ 89 w 196"/>
                <a:gd name="T59" fmla="*/ 521 h 782"/>
                <a:gd name="T60" fmla="*/ 84 w 196"/>
                <a:gd name="T61" fmla="*/ 524 h 782"/>
                <a:gd name="T62" fmla="*/ 77 w 196"/>
                <a:gd name="T63" fmla="*/ 524 h 782"/>
                <a:gd name="T64" fmla="*/ 72 w 196"/>
                <a:gd name="T65" fmla="*/ 521 h 782"/>
                <a:gd name="T66" fmla="*/ 68 w 196"/>
                <a:gd name="T67" fmla="*/ 517 h 782"/>
                <a:gd name="T68" fmla="*/ 66 w 196"/>
                <a:gd name="T69" fmla="*/ 512 h 782"/>
                <a:gd name="T70" fmla="*/ 66 w 196"/>
                <a:gd name="T71" fmla="*/ 91 h 782"/>
                <a:gd name="T72" fmla="*/ 15 w 196"/>
                <a:gd name="T73" fmla="*/ 0 h 782"/>
                <a:gd name="T74" fmla="*/ 10 w 196"/>
                <a:gd name="T75" fmla="*/ 1 h 782"/>
                <a:gd name="T76" fmla="*/ 4 w 196"/>
                <a:gd name="T77" fmla="*/ 4 h 782"/>
                <a:gd name="T78" fmla="*/ 1 w 196"/>
                <a:gd name="T79" fmla="*/ 9 h 782"/>
                <a:gd name="T80" fmla="*/ 0 w 196"/>
                <a:gd name="T81" fmla="*/ 15 h 782"/>
                <a:gd name="T82" fmla="*/ 1 w 196"/>
                <a:gd name="T83" fmla="*/ 770 h 782"/>
                <a:gd name="T84" fmla="*/ 3 w 196"/>
                <a:gd name="T85" fmla="*/ 776 h 782"/>
                <a:gd name="T86" fmla="*/ 8 w 196"/>
                <a:gd name="T87" fmla="*/ 780 h 782"/>
                <a:gd name="T88" fmla="*/ 13 w 196"/>
                <a:gd name="T89" fmla="*/ 782 h 782"/>
                <a:gd name="T90" fmla="*/ 181 w 196"/>
                <a:gd name="T91" fmla="*/ 782 h 782"/>
                <a:gd name="T92" fmla="*/ 187 w 196"/>
                <a:gd name="T93" fmla="*/ 781 h 782"/>
                <a:gd name="T94" fmla="*/ 192 w 196"/>
                <a:gd name="T95" fmla="*/ 778 h 782"/>
                <a:gd name="T96" fmla="*/ 195 w 196"/>
                <a:gd name="T97" fmla="*/ 773 h 782"/>
                <a:gd name="T98" fmla="*/ 196 w 196"/>
                <a:gd name="T99" fmla="*/ 767 h 782"/>
                <a:gd name="T100" fmla="*/ 196 w 196"/>
                <a:gd name="T101" fmla="*/ 12 h 782"/>
                <a:gd name="T102" fmla="*/ 193 w 196"/>
                <a:gd name="T103" fmla="*/ 7 h 782"/>
                <a:gd name="T104" fmla="*/ 190 w 196"/>
                <a:gd name="T105" fmla="*/ 2 h 782"/>
                <a:gd name="T106" fmla="*/ 185 w 196"/>
                <a:gd name="T107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782">
                  <a:moveTo>
                    <a:pt x="148" y="717"/>
                  </a:moveTo>
                  <a:lnTo>
                    <a:pt x="147" y="720"/>
                  </a:lnTo>
                  <a:lnTo>
                    <a:pt x="147" y="723"/>
                  </a:lnTo>
                  <a:lnTo>
                    <a:pt x="145" y="725"/>
                  </a:lnTo>
                  <a:lnTo>
                    <a:pt x="144" y="727"/>
                  </a:lnTo>
                  <a:lnTo>
                    <a:pt x="142" y="729"/>
                  </a:lnTo>
                  <a:lnTo>
                    <a:pt x="139" y="731"/>
                  </a:lnTo>
                  <a:lnTo>
                    <a:pt x="136" y="732"/>
                  </a:lnTo>
                  <a:lnTo>
                    <a:pt x="133" y="732"/>
                  </a:lnTo>
                  <a:lnTo>
                    <a:pt x="55" y="732"/>
                  </a:lnTo>
                  <a:lnTo>
                    <a:pt x="52" y="732"/>
                  </a:lnTo>
                  <a:lnTo>
                    <a:pt x="48" y="731"/>
                  </a:lnTo>
                  <a:lnTo>
                    <a:pt x="46" y="729"/>
                  </a:lnTo>
                  <a:lnTo>
                    <a:pt x="44" y="727"/>
                  </a:lnTo>
                  <a:lnTo>
                    <a:pt x="42" y="725"/>
                  </a:lnTo>
                  <a:lnTo>
                    <a:pt x="41" y="723"/>
                  </a:lnTo>
                  <a:lnTo>
                    <a:pt x="40" y="720"/>
                  </a:lnTo>
                  <a:lnTo>
                    <a:pt x="40" y="717"/>
                  </a:lnTo>
                  <a:lnTo>
                    <a:pt x="40" y="561"/>
                  </a:lnTo>
                  <a:lnTo>
                    <a:pt x="40" y="558"/>
                  </a:lnTo>
                  <a:lnTo>
                    <a:pt x="41" y="555"/>
                  </a:lnTo>
                  <a:lnTo>
                    <a:pt x="42" y="552"/>
                  </a:lnTo>
                  <a:lnTo>
                    <a:pt x="44" y="550"/>
                  </a:lnTo>
                  <a:lnTo>
                    <a:pt x="46" y="548"/>
                  </a:lnTo>
                  <a:lnTo>
                    <a:pt x="48" y="547"/>
                  </a:lnTo>
                  <a:lnTo>
                    <a:pt x="52" y="546"/>
                  </a:lnTo>
                  <a:lnTo>
                    <a:pt x="55" y="546"/>
                  </a:lnTo>
                  <a:lnTo>
                    <a:pt x="133" y="546"/>
                  </a:lnTo>
                  <a:lnTo>
                    <a:pt x="136" y="546"/>
                  </a:lnTo>
                  <a:lnTo>
                    <a:pt x="139" y="547"/>
                  </a:lnTo>
                  <a:lnTo>
                    <a:pt x="142" y="548"/>
                  </a:lnTo>
                  <a:lnTo>
                    <a:pt x="144" y="550"/>
                  </a:lnTo>
                  <a:lnTo>
                    <a:pt x="145" y="552"/>
                  </a:lnTo>
                  <a:lnTo>
                    <a:pt x="147" y="555"/>
                  </a:lnTo>
                  <a:lnTo>
                    <a:pt x="147" y="558"/>
                  </a:lnTo>
                  <a:lnTo>
                    <a:pt x="148" y="561"/>
                  </a:lnTo>
                  <a:lnTo>
                    <a:pt x="148" y="717"/>
                  </a:lnTo>
                  <a:close/>
                  <a:moveTo>
                    <a:pt x="66" y="91"/>
                  </a:moveTo>
                  <a:lnTo>
                    <a:pt x="66" y="88"/>
                  </a:lnTo>
                  <a:lnTo>
                    <a:pt x="67" y="85"/>
                  </a:lnTo>
                  <a:lnTo>
                    <a:pt x="68" y="83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7"/>
                  </a:lnTo>
                  <a:lnTo>
                    <a:pt x="77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7" y="77"/>
                  </a:lnTo>
                  <a:lnTo>
                    <a:pt x="89" y="78"/>
                  </a:lnTo>
                  <a:lnTo>
                    <a:pt x="91" y="81"/>
                  </a:lnTo>
                  <a:lnTo>
                    <a:pt x="93" y="83"/>
                  </a:lnTo>
                  <a:lnTo>
                    <a:pt x="95" y="85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6" y="509"/>
                  </a:lnTo>
                  <a:lnTo>
                    <a:pt x="96" y="512"/>
                  </a:lnTo>
                  <a:lnTo>
                    <a:pt x="95" y="514"/>
                  </a:lnTo>
                  <a:lnTo>
                    <a:pt x="93" y="517"/>
                  </a:lnTo>
                  <a:lnTo>
                    <a:pt x="91" y="519"/>
                  </a:lnTo>
                  <a:lnTo>
                    <a:pt x="89" y="521"/>
                  </a:lnTo>
                  <a:lnTo>
                    <a:pt x="87" y="522"/>
                  </a:lnTo>
                  <a:lnTo>
                    <a:pt x="84" y="524"/>
                  </a:lnTo>
                  <a:lnTo>
                    <a:pt x="81" y="524"/>
                  </a:lnTo>
                  <a:lnTo>
                    <a:pt x="77" y="524"/>
                  </a:lnTo>
                  <a:lnTo>
                    <a:pt x="75" y="522"/>
                  </a:lnTo>
                  <a:lnTo>
                    <a:pt x="72" y="521"/>
                  </a:lnTo>
                  <a:lnTo>
                    <a:pt x="70" y="519"/>
                  </a:lnTo>
                  <a:lnTo>
                    <a:pt x="68" y="517"/>
                  </a:lnTo>
                  <a:lnTo>
                    <a:pt x="67" y="514"/>
                  </a:lnTo>
                  <a:lnTo>
                    <a:pt x="66" y="512"/>
                  </a:lnTo>
                  <a:lnTo>
                    <a:pt x="66" y="509"/>
                  </a:lnTo>
                  <a:lnTo>
                    <a:pt x="66" y="91"/>
                  </a:lnTo>
                  <a:close/>
                  <a:moveTo>
                    <a:pt x="181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67"/>
                  </a:lnTo>
                  <a:lnTo>
                    <a:pt x="1" y="770"/>
                  </a:lnTo>
                  <a:lnTo>
                    <a:pt x="1" y="773"/>
                  </a:lnTo>
                  <a:lnTo>
                    <a:pt x="3" y="776"/>
                  </a:lnTo>
                  <a:lnTo>
                    <a:pt x="4" y="778"/>
                  </a:lnTo>
                  <a:lnTo>
                    <a:pt x="8" y="780"/>
                  </a:lnTo>
                  <a:lnTo>
                    <a:pt x="10" y="781"/>
                  </a:lnTo>
                  <a:lnTo>
                    <a:pt x="13" y="782"/>
                  </a:lnTo>
                  <a:lnTo>
                    <a:pt x="15" y="782"/>
                  </a:lnTo>
                  <a:lnTo>
                    <a:pt x="181" y="782"/>
                  </a:lnTo>
                  <a:lnTo>
                    <a:pt x="185" y="782"/>
                  </a:lnTo>
                  <a:lnTo>
                    <a:pt x="187" y="781"/>
                  </a:lnTo>
                  <a:lnTo>
                    <a:pt x="190" y="780"/>
                  </a:lnTo>
                  <a:lnTo>
                    <a:pt x="192" y="778"/>
                  </a:lnTo>
                  <a:lnTo>
                    <a:pt x="193" y="776"/>
                  </a:lnTo>
                  <a:lnTo>
                    <a:pt x="195" y="773"/>
                  </a:lnTo>
                  <a:lnTo>
                    <a:pt x="196" y="770"/>
                  </a:lnTo>
                  <a:lnTo>
                    <a:pt x="196" y="767"/>
                  </a:lnTo>
                  <a:lnTo>
                    <a:pt x="196" y="15"/>
                  </a:lnTo>
                  <a:lnTo>
                    <a:pt x="196" y="12"/>
                  </a:lnTo>
                  <a:lnTo>
                    <a:pt x="195" y="9"/>
                  </a:lnTo>
                  <a:lnTo>
                    <a:pt x="193" y="7"/>
                  </a:lnTo>
                  <a:lnTo>
                    <a:pt x="192" y="4"/>
                  </a:lnTo>
                  <a:lnTo>
                    <a:pt x="190" y="2"/>
                  </a:lnTo>
                  <a:lnTo>
                    <a:pt x="187" y="1"/>
                  </a:lnTo>
                  <a:lnTo>
                    <a:pt x="185" y="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643"/>
            <p:cNvSpPr>
              <a:spLocks noEditPoints="1"/>
            </p:cNvSpPr>
            <p:nvPr/>
          </p:nvSpPr>
          <p:spPr bwMode="auto">
            <a:xfrm>
              <a:off x="5600700" y="844550"/>
              <a:ext cx="147638" cy="217488"/>
            </a:xfrm>
            <a:custGeom>
              <a:avLst/>
              <a:gdLst>
                <a:gd name="T0" fmla="*/ 61 w 469"/>
                <a:gd name="T1" fmla="*/ 632 h 684"/>
                <a:gd name="T2" fmla="*/ 53 w 469"/>
                <a:gd name="T3" fmla="*/ 627 h 684"/>
                <a:gd name="T4" fmla="*/ 49 w 469"/>
                <a:gd name="T5" fmla="*/ 620 h 684"/>
                <a:gd name="T6" fmla="*/ 50 w 469"/>
                <a:gd name="T7" fmla="*/ 611 h 684"/>
                <a:gd name="T8" fmla="*/ 55 w 469"/>
                <a:gd name="T9" fmla="*/ 605 h 684"/>
                <a:gd name="T10" fmla="*/ 64 w 469"/>
                <a:gd name="T11" fmla="*/ 602 h 684"/>
                <a:gd name="T12" fmla="*/ 147 w 469"/>
                <a:gd name="T13" fmla="*/ 603 h 684"/>
                <a:gd name="T14" fmla="*/ 154 w 469"/>
                <a:gd name="T15" fmla="*/ 609 h 684"/>
                <a:gd name="T16" fmla="*/ 157 w 469"/>
                <a:gd name="T17" fmla="*/ 617 h 684"/>
                <a:gd name="T18" fmla="*/ 154 w 469"/>
                <a:gd name="T19" fmla="*/ 625 h 684"/>
                <a:gd name="T20" fmla="*/ 147 w 469"/>
                <a:gd name="T21" fmla="*/ 631 h 684"/>
                <a:gd name="T22" fmla="*/ 74 w 469"/>
                <a:gd name="T23" fmla="*/ 252 h 684"/>
                <a:gd name="T24" fmla="*/ 77 w 469"/>
                <a:gd name="T25" fmla="*/ 243 h 684"/>
                <a:gd name="T26" fmla="*/ 83 w 469"/>
                <a:gd name="T27" fmla="*/ 238 h 684"/>
                <a:gd name="T28" fmla="*/ 93 w 469"/>
                <a:gd name="T29" fmla="*/ 237 h 684"/>
                <a:gd name="T30" fmla="*/ 100 w 469"/>
                <a:gd name="T31" fmla="*/ 241 h 684"/>
                <a:gd name="T32" fmla="*/ 104 w 469"/>
                <a:gd name="T33" fmla="*/ 249 h 684"/>
                <a:gd name="T34" fmla="*/ 104 w 469"/>
                <a:gd name="T35" fmla="*/ 542 h 684"/>
                <a:gd name="T36" fmla="*/ 100 w 469"/>
                <a:gd name="T37" fmla="*/ 549 h 684"/>
                <a:gd name="T38" fmla="*/ 93 w 469"/>
                <a:gd name="T39" fmla="*/ 553 h 684"/>
                <a:gd name="T40" fmla="*/ 83 w 469"/>
                <a:gd name="T41" fmla="*/ 553 h 684"/>
                <a:gd name="T42" fmla="*/ 77 w 469"/>
                <a:gd name="T43" fmla="*/ 547 h 684"/>
                <a:gd name="T44" fmla="*/ 74 w 469"/>
                <a:gd name="T45" fmla="*/ 539 h 684"/>
                <a:gd name="T46" fmla="*/ 260 w 469"/>
                <a:gd name="T47" fmla="*/ 11 h 684"/>
                <a:gd name="T48" fmla="*/ 255 w 469"/>
                <a:gd name="T49" fmla="*/ 3 h 684"/>
                <a:gd name="T50" fmla="*/ 247 w 469"/>
                <a:gd name="T51" fmla="*/ 0 h 684"/>
                <a:gd name="T52" fmla="*/ 150 w 469"/>
                <a:gd name="T53" fmla="*/ 33 h 684"/>
                <a:gd name="T54" fmla="*/ 143 w 469"/>
                <a:gd name="T55" fmla="*/ 38 h 684"/>
                <a:gd name="T56" fmla="*/ 140 w 469"/>
                <a:gd name="T57" fmla="*/ 46 h 684"/>
                <a:gd name="T58" fmla="*/ 180 w 469"/>
                <a:gd name="T59" fmla="*/ 170 h 684"/>
                <a:gd name="T60" fmla="*/ 9 w 469"/>
                <a:gd name="T61" fmla="*/ 171 h 684"/>
                <a:gd name="T62" fmla="*/ 3 w 469"/>
                <a:gd name="T63" fmla="*/ 177 h 684"/>
                <a:gd name="T64" fmla="*/ 0 w 469"/>
                <a:gd name="T65" fmla="*/ 185 h 684"/>
                <a:gd name="T66" fmla="*/ 2 w 469"/>
                <a:gd name="T67" fmla="*/ 673 h 684"/>
                <a:gd name="T68" fmla="*/ 7 w 469"/>
                <a:gd name="T69" fmla="*/ 680 h 684"/>
                <a:gd name="T70" fmla="*/ 15 w 469"/>
                <a:gd name="T71" fmla="*/ 682 h 684"/>
                <a:gd name="T72" fmla="*/ 202 w 469"/>
                <a:gd name="T73" fmla="*/ 681 h 684"/>
                <a:gd name="T74" fmla="*/ 209 w 469"/>
                <a:gd name="T75" fmla="*/ 676 h 684"/>
                <a:gd name="T76" fmla="*/ 211 w 469"/>
                <a:gd name="T77" fmla="*/ 667 h 684"/>
                <a:gd name="T78" fmla="*/ 350 w 469"/>
                <a:gd name="T79" fmla="*/ 677 h 684"/>
                <a:gd name="T80" fmla="*/ 357 w 469"/>
                <a:gd name="T81" fmla="*/ 683 h 684"/>
                <a:gd name="T82" fmla="*/ 366 w 469"/>
                <a:gd name="T83" fmla="*/ 684 h 684"/>
                <a:gd name="T84" fmla="*/ 463 w 469"/>
                <a:gd name="T85" fmla="*/ 650 h 684"/>
                <a:gd name="T86" fmla="*/ 468 w 469"/>
                <a:gd name="T87" fmla="*/ 643 h 684"/>
                <a:gd name="T88" fmla="*/ 469 w 469"/>
                <a:gd name="T89" fmla="*/ 63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9" h="684">
                  <a:moveTo>
                    <a:pt x="142" y="632"/>
                  </a:moveTo>
                  <a:lnTo>
                    <a:pt x="64" y="632"/>
                  </a:lnTo>
                  <a:lnTo>
                    <a:pt x="61" y="632"/>
                  </a:lnTo>
                  <a:lnTo>
                    <a:pt x="57" y="631"/>
                  </a:lnTo>
                  <a:lnTo>
                    <a:pt x="55" y="629"/>
                  </a:lnTo>
                  <a:lnTo>
                    <a:pt x="53" y="627"/>
                  </a:lnTo>
                  <a:lnTo>
                    <a:pt x="51" y="625"/>
                  </a:lnTo>
                  <a:lnTo>
                    <a:pt x="50" y="623"/>
                  </a:lnTo>
                  <a:lnTo>
                    <a:pt x="49" y="620"/>
                  </a:lnTo>
                  <a:lnTo>
                    <a:pt x="48" y="617"/>
                  </a:lnTo>
                  <a:lnTo>
                    <a:pt x="49" y="614"/>
                  </a:lnTo>
                  <a:lnTo>
                    <a:pt x="50" y="611"/>
                  </a:lnTo>
                  <a:lnTo>
                    <a:pt x="51" y="609"/>
                  </a:lnTo>
                  <a:lnTo>
                    <a:pt x="53" y="606"/>
                  </a:lnTo>
                  <a:lnTo>
                    <a:pt x="55" y="605"/>
                  </a:lnTo>
                  <a:lnTo>
                    <a:pt x="57" y="603"/>
                  </a:lnTo>
                  <a:lnTo>
                    <a:pt x="61" y="603"/>
                  </a:lnTo>
                  <a:lnTo>
                    <a:pt x="64" y="602"/>
                  </a:lnTo>
                  <a:lnTo>
                    <a:pt x="142" y="602"/>
                  </a:lnTo>
                  <a:lnTo>
                    <a:pt x="144" y="603"/>
                  </a:lnTo>
                  <a:lnTo>
                    <a:pt x="147" y="603"/>
                  </a:lnTo>
                  <a:lnTo>
                    <a:pt x="150" y="605"/>
                  </a:lnTo>
                  <a:lnTo>
                    <a:pt x="152" y="606"/>
                  </a:lnTo>
                  <a:lnTo>
                    <a:pt x="154" y="609"/>
                  </a:lnTo>
                  <a:lnTo>
                    <a:pt x="155" y="611"/>
                  </a:lnTo>
                  <a:lnTo>
                    <a:pt x="156" y="614"/>
                  </a:lnTo>
                  <a:lnTo>
                    <a:pt x="157" y="617"/>
                  </a:lnTo>
                  <a:lnTo>
                    <a:pt x="156" y="620"/>
                  </a:lnTo>
                  <a:lnTo>
                    <a:pt x="155" y="623"/>
                  </a:lnTo>
                  <a:lnTo>
                    <a:pt x="154" y="625"/>
                  </a:lnTo>
                  <a:lnTo>
                    <a:pt x="152" y="627"/>
                  </a:lnTo>
                  <a:lnTo>
                    <a:pt x="150" y="629"/>
                  </a:lnTo>
                  <a:lnTo>
                    <a:pt x="147" y="631"/>
                  </a:lnTo>
                  <a:lnTo>
                    <a:pt x="144" y="632"/>
                  </a:lnTo>
                  <a:lnTo>
                    <a:pt x="142" y="632"/>
                  </a:lnTo>
                  <a:close/>
                  <a:moveTo>
                    <a:pt x="74" y="252"/>
                  </a:moveTo>
                  <a:lnTo>
                    <a:pt x="74" y="249"/>
                  </a:lnTo>
                  <a:lnTo>
                    <a:pt x="76" y="247"/>
                  </a:lnTo>
                  <a:lnTo>
                    <a:pt x="77" y="243"/>
                  </a:lnTo>
                  <a:lnTo>
                    <a:pt x="79" y="241"/>
                  </a:lnTo>
                  <a:lnTo>
                    <a:pt x="81" y="239"/>
                  </a:lnTo>
                  <a:lnTo>
                    <a:pt x="83" y="238"/>
                  </a:lnTo>
                  <a:lnTo>
                    <a:pt x="86" y="237"/>
                  </a:lnTo>
                  <a:lnTo>
                    <a:pt x="89" y="237"/>
                  </a:lnTo>
                  <a:lnTo>
                    <a:pt x="93" y="237"/>
                  </a:lnTo>
                  <a:lnTo>
                    <a:pt x="95" y="238"/>
                  </a:lnTo>
                  <a:lnTo>
                    <a:pt x="98" y="239"/>
                  </a:lnTo>
                  <a:lnTo>
                    <a:pt x="100" y="241"/>
                  </a:lnTo>
                  <a:lnTo>
                    <a:pt x="102" y="243"/>
                  </a:lnTo>
                  <a:lnTo>
                    <a:pt x="103" y="247"/>
                  </a:lnTo>
                  <a:lnTo>
                    <a:pt x="104" y="249"/>
                  </a:lnTo>
                  <a:lnTo>
                    <a:pt x="104" y="252"/>
                  </a:lnTo>
                  <a:lnTo>
                    <a:pt x="104" y="539"/>
                  </a:lnTo>
                  <a:lnTo>
                    <a:pt x="104" y="542"/>
                  </a:lnTo>
                  <a:lnTo>
                    <a:pt x="103" y="545"/>
                  </a:lnTo>
                  <a:lnTo>
                    <a:pt x="102" y="547"/>
                  </a:lnTo>
                  <a:lnTo>
                    <a:pt x="100" y="549"/>
                  </a:lnTo>
                  <a:lnTo>
                    <a:pt x="98" y="551"/>
                  </a:lnTo>
                  <a:lnTo>
                    <a:pt x="95" y="553"/>
                  </a:lnTo>
                  <a:lnTo>
                    <a:pt x="93" y="553"/>
                  </a:lnTo>
                  <a:lnTo>
                    <a:pt x="89" y="554"/>
                  </a:lnTo>
                  <a:lnTo>
                    <a:pt x="86" y="553"/>
                  </a:lnTo>
                  <a:lnTo>
                    <a:pt x="83" y="553"/>
                  </a:lnTo>
                  <a:lnTo>
                    <a:pt x="81" y="551"/>
                  </a:lnTo>
                  <a:lnTo>
                    <a:pt x="79" y="549"/>
                  </a:lnTo>
                  <a:lnTo>
                    <a:pt x="77" y="547"/>
                  </a:lnTo>
                  <a:lnTo>
                    <a:pt x="76" y="545"/>
                  </a:lnTo>
                  <a:lnTo>
                    <a:pt x="74" y="542"/>
                  </a:lnTo>
                  <a:lnTo>
                    <a:pt x="74" y="539"/>
                  </a:lnTo>
                  <a:lnTo>
                    <a:pt x="74" y="252"/>
                  </a:lnTo>
                  <a:close/>
                  <a:moveTo>
                    <a:pt x="469" y="633"/>
                  </a:moveTo>
                  <a:lnTo>
                    <a:pt x="260" y="11"/>
                  </a:lnTo>
                  <a:lnTo>
                    <a:pt x="259" y="7"/>
                  </a:lnTo>
                  <a:lnTo>
                    <a:pt x="257" y="5"/>
                  </a:lnTo>
                  <a:lnTo>
                    <a:pt x="255" y="3"/>
                  </a:lnTo>
                  <a:lnTo>
                    <a:pt x="252" y="2"/>
                  </a:lnTo>
                  <a:lnTo>
                    <a:pt x="249" y="1"/>
                  </a:lnTo>
                  <a:lnTo>
                    <a:pt x="247" y="0"/>
                  </a:lnTo>
                  <a:lnTo>
                    <a:pt x="244" y="0"/>
                  </a:lnTo>
                  <a:lnTo>
                    <a:pt x="241" y="1"/>
                  </a:lnTo>
                  <a:lnTo>
                    <a:pt x="150" y="33"/>
                  </a:lnTo>
                  <a:lnTo>
                    <a:pt x="147" y="34"/>
                  </a:lnTo>
                  <a:lnTo>
                    <a:pt x="144" y="36"/>
                  </a:lnTo>
                  <a:lnTo>
                    <a:pt x="143" y="38"/>
                  </a:lnTo>
                  <a:lnTo>
                    <a:pt x="141" y="41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9"/>
                  </a:lnTo>
                  <a:lnTo>
                    <a:pt x="140" y="52"/>
                  </a:lnTo>
                  <a:lnTo>
                    <a:pt x="180" y="170"/>
                  </a:lnTo>
                  <a:lnTo>
                    <a:pt x="15" y="170"/>
                  </a:lnTo>
                  <a:lnTo>
                    <a:pt x="12" y="171"/>
                  </a:lnTo>
                  <a:lnTo>
                    <a:pt x="9" y="171"/>
                  </a:lnTo>
                  <a:lnTo>
                    <a:pt x="7" y="174"/>
                  </a:lnTo>
                  <a:lnTo>
                    <a:pt x="5" y="175"/>
                  </a:lnTo>
                  <a:lnTo>
                    <a:pt x="3" y="177"/>
                  </a:lnTo>
                  <a:lnTo>
                    <a:pt x="2" y="180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667"/>
                  </a:lnTo>
                  <a:lnTo>
                    <a:pt x="0" y="670"/>
                  </a:lnTo>
                  <a:lnTo>
                    <a:pt x="2" y="673"/>
                  </a:lnTo>
                  <a:lnTo>
                    <a:pt x="3" y="676"/>
                  </a:lnTo>
                  <a:lnTo>
                    <a:pt x="5" y="678"/>
                  </a:lnTo>
                  <a:lnTo>
                    <a:pt x="7" y="680"/>
                  </a:lnTo>
                  <a:lnTo>
                    <a:pt x="9" y="681"/>
                  </a:lnTo>
                  <a:lnTo>
                    <a:pt x="12" y="682"/>
                  </a:lnTo>
                  <a:lnTo>
                    <a:pt x="15" y="682"/>
                  </a:lnTo>
                  <a:lnTo>
                    <a:pt x="196" y="682"/>
                  </a:lnTo>
                  <a:lnTo>
                    <a:pt x="199" y="682"/>
                  </a:lnTo>
                  <a:lnTo>
                    <a:pt x="202" y="681"/>
                  </a:lnTo>
                  <a:lnTo>
                    <a:pt x="204" y="680"/>
                  </a:lnTo>
                  <a:lnTo>
                    <a:pt x="206" y="678"/>
                  </a:lnTo>
                  <a:lnTo>
                    <a:pt x="209" y="676"/>
                  </a:lnTo>
                  <a:lnTo>
                    <a:pt x="210" y="673"/>
                  </a:lnTo>
                  <a:lnTo>
                    <a:pt x="211" y="670"/>
                  </a:lnTo>
                  <a:lnTo>
                    <a:pt x="211" y="667"/>
                  </a:lnTo>
                  <a:lnTo>
                    <a:pt x="211" y="263"/>
                  </a:lnTo>
                  <a:lnTo>
                    <a:pt x="349" y="675"/>
                  </a:lnTo>
                  <a:lnTo>
                    <a:pt x="350" y="677"/>
                  </a:lnTo>
                  <a:lnTo>
                    <a:pt x="352" y="679"/>
                  </a:lnTo>
                  <a:lnTo>
                    <a:pt x="354" y="681"/>
                  </a:lnTo>
                  <a:lnTo>
                    <a:pt x="357" y="683"/>
                  </a:lnTo>
                  <a:lnTo>
                    <a:pt x="360" y="684"/>
                  </a:lnTo>
                  <a:lnTo>
                    <a:pt x="363" y="684"/>
                  </a:lnTo>
                  <a:lnTo>
                    <a:pt x="366" y="684"/>
                  </a:lnTo>
                  <a:lnTo>
                    <a:pt x="368" y="683"/>
                  </a:lnTo>
                  <a:lnTo>
                    <a:pt x="459" y="651"/>
                  </a:lnTo>
                  <a:lnTo>
                    <a:pt x="463" y="650"/>
                  </a:lnTo>
                  <a:lnTo>
                    <a:pt x="465" y="649"/>
                  </a:lnTo>
                  <a:lnTo>
                    <a:pt x="467" y="647"/>
                  </a:lnTo>
                  <a:lnTo>
                    <a:pt x="468" y="643"/>
                  </a:lnTo>
                  <a:lnTo>
                    <a:pt x="469" y="641"/>
                  </a:lnTo>
                  <a:lnTo>
                    <a:pt x="469" y="638"/>
                  </a:lnTo>
                  <a:lnTo>
                    <a:pt x="469" y="635"/>
                  </a:lnTo>
                  <a:lnTo>
                    <a:pt x="469" y="633"/>
                  </a:lnTo>
                  <a:lnTo>
                    <a:pt x="469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644"/>
            <p:cNvSpPr>
              <a:spLocks noEditPoints="1"/>
            </p:cNvSpPr>
            <p:nvPr/>
          </p:nvSpPr>
          <p:spPr bwMode="auto">
            <a:xfrm>
              <a:off x="5465763" y="846138"/>
              <a:ext cx="52388" cy="214313"/>
            </a:xfrm>
            <a:custGeom>
              <a:avLst/>
              <a:gdLst>
                <a:gd name="T0" fmla="*/ 81 w 165"/>
                <a:gd name="T1" fmla="*/ 563 h 677"/>
                <a:gd name="T2" fmla="*/ 79 w 165"/>
                <a:gd name="T3" fmla="*/ 569 h 677"/>
                <a:gd name="T4" fmla="*/ 75 w 165"/>
                <a:gd name="T5" fmla="*/ 572 h 677"/>
                <a:gd name="T6" fmla="*/ 70 w 165"/>
                <a:gd name="T7" fmla="*/ 575 h 677"/>
                <a:gd name="T8" fmla="*/ 64 w 165"/>
                <a:gd name="T9" fmla="*/ 575 h 677"/>
                <a:gd name="T10" fmla="*/ 59 w 165"/>
                <a:gd name="T11" fmla="*/ 572 h 677"/>
                <a:gd name="T12" fmla="*/ 55 w 165"/>
                <a:gd name="T13" fmla="*/ 569 h 677"/>
                <a:gd name="T14" fmla="*/ 53 w 165"/>
                <a:gd name="T15" fmla="*/ 563 h 677"/>
                <a:gd name="T16" fmla="*/ 51 w 165"/>
                <a:gd name="T17" fmla="*/ 116 h 677"/>
                <a:gd name="T18" fmla="*/ 54 w 165"/>
                <a:gd name="T19" fmla="*/ 111 h 677"/>
                <a:gd name="T20" fmla="*/ 57 w 165"/>
                <a:gd name="T21" fmla="*/ 106 h 677"/>
                <a:gd name="T22" fmla="*/ 61 w 165"/>
                <a:gd name="T23" fmla="*/ 103 h 677"/>
                <a:gd name="T24" fmla="*/ 66 w 165"/>
                <a:gd name="T25" fmla="*/ 102 h 677"/>
                <a:gd name="T26" fmla="*/ 73 w 165"/>
                <a:gd name="T27" fmla="*/ 103 h 677"/>
                <a:gd name="T28" fmla="*/ 77 w 165"/>
                <a:gd name="T29" fmla="*/ 106 h 677"/>
                <a:gd name="T30" fmla="*/ 80 w 165"/>
                <a:gd name="T31" fmla="*/ 111 h 677"/>
                <a:gd name="T32" fmla="*/ 83 w 165"/>
                <a:gd name="T33" fmla="*/ 117 h 677"/>
                <a:gd name="T34" fmla="*/ 150 w 165"/>
                <a:gd name="T35" fmla="*/ 0 h 677"/>
                <a:gd name="T36" fmla="*/ 12 w 165"/>
                <a:gd name="T37" fmla="*/ 0 h 677"/>
                <a:gd name="T38" fmla="*/ 6 w 165"/>
                <a:gd name="T39" fmla="*/ 2 h 677"/>
                <a:gd name="T40" fmla="*/ 2 w 165"/>
                <a:gd name="T41" fmla="*/ 7 h 677"/>
                <a:gd name="T42" fmla="*/ 0 w 165"/>
                <a:gd name="T43" fmla="*/ 12 h 677"/>
                <a:gd name="T44" fmla="*/ 0 w 165"/>
                <a:gd name="T45" fmla="*/ 662 h 677"/>
                <a:gd name="T46" fmla="*/ 1 w 165"/>
                <a:gd name="T47" fmla="*/ 668 h 677"/>
                <a:gd name="T48" fmla="*/ 4 w 165"/>
                <a:gd name="T49" fmla="*/ 673 h 677"/>
                <a:gd name="T50" fmla="*/ 9 w 165"/>
                <a:gd name="T51" fmla="*/ 676 h 677"/>
                <a:gd name="T52" fmla="*/ 15 w 165"/>
                <a:gd name="T53" fmla="*/ 677 h 677"/>
                <a:gd name="T54" fmla="*/ 153 w 165"/>
                <a:gd name="T55" fmla="*/ 677 h 677"/>
                <a:gd name="T56" fmla="*/ 159 w 165"/>
                <a:gd name="T57" fmla="*/ 675 h 677"/>
                <a:gd name="T58" fmla="*/ 163 w 165"/>
                <a:gd name="T59" fmla="*/ 671 h 677"/>
                <a:gd name="T60" fmla="*/ 165 w 165"/>
                <a:gd name="T61" fmla="*/ 665 h 677"/>
                <a:gd name="T62" fmla="*/ 165 w 165"/>
                <a:gd name="T63" fmla="*/ 15 h 677"/>
                <a:gd name="T64" fmla="*/ 164 w 165"/>
                <a:gd name="T65" fmla="*/ 9 h 677"/>
                <a:gd name="T66" fmla="*/ 161 w 165"/>
                <a:gd name="T67" fmla="*/ 5 h 677"/>
                <a:gd name="T68" fmla="*/ 157 w 165"/>
                <a:gd name="T69" fmla="*/ 1 h 677"/>
                <a:gd name="T70" fmla="*/ 150 w 165"/>
                <a:gd name="T7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5" h="677">
                  <a:moveTo>
                    <a:pt x="83" y="560"/>
                  </a:moveTo>
                  <a:lnTo>
                    <a:pt x="81" y="563"/>
                  </a:lnTo>
                  <a:lnTo>
                    <a:pt x="80" y="565"/>
                  </a:lnTo>
                  <a:lnTo>
                    <a:pt x="79" y="569"/>
                  </a:lnTo>
                  <a:lnTo>
                    <a:pt x="77" y="571"/>
                  </a:lnTo>
                  <a:lnTo>
                    <a:pt x="75" y="572"/>
                  </a:lnTo>
                  <a:lnTo>
                    <a:pt x="73" y="574"/>
                  </a:lnTo>
                  <a:lnTo>
                    <a:pt x="70" y="575"/>
                  </a:lnTo>
                  <a:lnTo>
                    <a:pt x="66" y="575"/>
                  </a:lnTo>
                  <a:lnTo>
                    <a:pt x="64" y="575"/>
                  </a:lnTo>
                  <a:lnTo>
                    <a:pt x="61" y="574"/>
                  </a:lnTo>
                  <a:lnTo>
                    <a:pt x="59" y="572"/>
                  </a:lnTo>
                  <a:lnTo>
                    <a:pt x="57" y="571"/>
                  </a:lnTo>
                  <a:lnTo>
                    <a:pt x="55" y="569"/>
                  </a:lnTo>
                  <a:lnTo>
                    <a:pt x="54" y="565"/>
                  </a:lnTo>
                  <a:lnTo>
                    <a:pt x="53" y="563"/>
                  </a:lnTo>
                  <a:lnTo>
                    <a:pt x="51" y="560"/>
                  </a:lnTo>
                  <a:lnTo>
                    <a:pt x="51" y="116"/>
                  </a:lnTo>
                  <a:lnTo>
                    <a:pt x="53" y="114"/>
                  </a:lnTo>
                  <a:lnTo>
                    <a:pt x="54" y="111"/>
                  </a:lnTo>
                  <a:lnTo>
                    <a:pt x="55" y="109"/>
                  </a:lnTo>
                  <a:lnTo>
                    <a:pt x="57" y="106"/>
                  </a:lnTo>
                  <a:lnTo>
                    <a:pt x="59" y="104"/>
                  </a:lnTo>
                  <a:lnTo>
                    <a:pt x="61" y="103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70" y="102"/>
                  </a:lnTo>
                  <a:lnTo>
                    <a:pt x="73" y="103"/>
                  </a:lnTo>
                  <a:lnTo>
                    <a:pt x="75" y="104"/>
                  </a:lnTo>
                  <a:lnTo>
                    <a:pt x="77" y="106"/>
                  </a:lnTo>
                  <a:lnTo>
                    <a:pt x="79" y="109"/>
                  </a:lnTo>
                  <a:lnTo>
                    <a:pt x="80" y="111"/>
                  </a:lnTo>
                  <a:lnTo>
                    <a:pt x="81" y="114"/>
                  </a:lnTo>
                  <a:lnTo>
                    <a:pt x="83" y="117"/>
                  </a:lnTo>
                  <a:lnTo>
                    <a:pt x="83" y="560"/>
                  </a:lnTo>
                  <a:close/>
                  <a:moveTo>
                    <a:pt x="150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662"/>
                  </a:lnTo>
                  <a:lnTo>
                    <a:pt x="0" y="665"/>
                  </a:lnTo>
                  <a:lnTo>
                    <a:pt x="1" y="668"/>
                  </a:lnTo>
                  <a:lnTo>
                    <a:pt x="2" y="671"/>
                  </a:lnTo>
                  <a:lnTo>
                    <a:pt x="4" y="673"/>
                  </a:lnTo>
                  <a:lnTo>
                    <a:pt x="6" y="675"/>
                  </a:lnTo>
                  <a:lnTo>
                    <a:pt x="9" y="676"/>
                  </a:lnTo>
                  <a:lnTo>
                    <a:pt x="12" y="677"/>
                  </a:lnTo>
                  <a:lnTo>
                    <a:pt x="15" y="677"/>
                  </a:lnTo>
                  <a:lnTo>
                    <a:pt x="150" y="677"/>
                  </a:lnTo>
                  <a:lnTo>
                    <a:pt x="153" y="677"/>
                  </a:lnTo>
                  <a:lnTo>
                    <a:pt x="157" y="676"/>
                  </a:lnTo>
                  <a:lnTo>
                    <a:pt x="159" y="675"/>
                  </a:lnTo>
                  <a:lnTo>
                    <a:pt x="161" y="673"/>
                  </a:lnTo>
                  <a:lnTo>
                    <a:pt x="163" y="671"/>
                  </a:lnTo>
                  <a:lnTo>
                    <a:pt x="164" y="668"/>
                  </a:lnTo>
                  <a:lnTo>
                    <a:pt x="165" y="665"/>
                  </a:lnTo>
                  <a:lnTo>
                    <a:pt x="165" y="662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61" y="5"/>
                  </a:lnTo>
                  <a:lnTo>
                    <a:pt x="159" y="2"/>
                  </a:lnTo>
                  <a:lnTo>
                    <a:pt x="157" y="1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4" name="Group 373"/>
          <p:cNvGrpSpPr/>
          <p:nvPr/>
        </p:nvGrpSpPr>
        <p:grpSpPr>
          <a:xfrm>
            <a:off x="5037955" y="4564458"/>
            <a:ext cx="287338" cy="249238"/>
            <a:chOff x="5465763" y="1385888"/>
            <a:chExt cx="287338" cy="2492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75" name="Freeform 683"/>
            <p:cNvSpPr>
              <a:spLocks/>
            </p:cNvSpPr>
            <p:nvPr/>
          </p:nvSpPr>
          <p:spPr bwMode="auto">
            <a:xfrm>
              <a:off x="5494338" y="1414463"/>
              <a:ext cx="134938" cy="9525"/>
            </a:xfrm>
            <a:custGeom>
              <a:avLst/>
              <a:gdLst>
                <a:gd name="T0" fmla="*/ 15 w 422"/>
                <a:gd name="T1" fmla="*/ 0 h 30"/>
                <a:gd name="T2" fmla="*/ 12 w 422"/>
                <a:gd name="T3" fmla="*/ 0 h 30"/>
                <a:gd name="T4" fmla="*/ 10 w 422"/>
                <a:gd name="T5" fmla="*/ 2 h 30"/>
                <a:gd name="T6" fmla="*/ 6 w 422"/>
                <a:gd name="T7" fmla="*/ 3 h 30"/>
                <a:gd name="T8" fmla="*/ 4 w 422"/>
                <a:gd name="T9" fmla="*/ 5 h 30"/>
                <a:gd name="T10" fmla="*/ 3 w 422"/>
                <a:gd name="T11" fmla="*/ 7 h 30"/>
                <a:gd name="T12" fmla="*/ 1 w 422"/>
                <a:gd name="T13" fmla="*/ 10 h 30"/>
                <a:gd name="T14" fmla="*/ 0 w 422"/>
                <a:gd name="T15" fmla="*/ 12 h 30"/>
                <a:gd name="T16" fmla="*/ 0 w 422"/>
                <a:gd name="T17" fmla="*/ 15 h 30"/>
                <a:gd name="T18" fmla="*/ 0 w 422"/>
                <a:gd name="T19" fmla="*/ 19 h 30"/>
                <a:gd name="T20" fmla="*/ 1 w 422"/>
                <a:gd name="T21" fmla="*/ 22 h 30"/>
                <a:gd name="T22" fmla="*/ 3 w 422"/>
                <a:gd name="T23" fmla="*/ 24 h 30"/>
                <a:gd name="T24" fmla="*/ 4 w 422"/>
                <a:gd name="T25" fmla="*/ 26 h 30"/>
                <a:gd name="T26" fmla="*/ 6 w 422"/>
                <a:gd name="T27" fmla="*/ 28 h 30"/>
                <a:gd name="T28" fmla="*/ 10 w 422"/>
                <a:gd name="T29" fmla="*/ 29 h 30"/>
                <a:gd name="T30" fmla="*/ 12 w 422"/>
                <a:gd name="T31" fmla="*/ 30 h 30"/>
                <a:gd name="T32" fmla="*/ 15 w 422"/>
                <a:gd name="T33" fmla="*/ 30 h 30"/>
                <a:gd name="T34" fmla="*/ 407 w 422"/>
                <a:gd name="T35" fmla="*/ 30 h 30"/>
                <a:gd name="T36" fmla="*/ 410 w 422"/>
                <a:gd name="T37" fmla="*/ 30 h 30"/>
                <a:gd name="T38" fmla="*/ 413 w 422"/>
                <a:gd name="T39" fmla="*/ 29 h 30"/>
                <a:gd name="T40" fmla="*/ 415 w 422"/>
                <a:gd name="T41" fmla="*/ 28 h 30"/>
                <a:gd name="T42" fmla="*/ 417 w 422"/>
                <a:gd name="T43" fmla="*/ 26 h 30"/>
                <a:gd name="T44" fmla="*/ 419 w 422"/>
                <a:gd name="T45" fmla="*/ 24 h 30"/>
                <a:gd name="T46" fmla="*/ 420 w 422"/>
                <a:gd name="T47" fmla="*/ 22 h 30"/>
                <a:gd name="T48" fmla="*/ 422 w 422"/>
                <a:gd name="T49" fmla="*/ 19 h 30"/>
                <a:gd name="T50" fmla="*/ 422 w 422"/>
                <a:gd name="T51" fmla="*/ 15 h 30"/>
                <a:gd name="T52" fmla="*/ 422 w 422"/>
                <a:gd name="T53" fmla="*/ 12 h 30"/>
                <a:gd name="T54" fmla="*/ 420 w 422"/>
                <a:gd name="T55" fmla="*/ 10 h 30"/>
                <a:gd name="T56" fmla="*/ 419 w 422"/>
                <a:gd name="T57" fmla="*/ 7 h 30"/>
                <a:gd name="T58" fmla="*/ 417 w 422"/>
                <a:gd name="T59" fmla="*/ 5 h 30"/>
                <a:gd name="T60" fmla="*/ 415 w 422"/>
                <a:gd name="T61" fmla="*/ 3 h 30"/>
                <a:gd name="T62" fmla="*/ 412 w 422"/>
                <a:gd name="T63" fmla="*/ 2 h 30"/>
                <a:gd name="T64" fmla="*/ 410 w 422"/>
                <a:gd name="T65" fmla="*/ 0 h 30"/>
                <a:gd name="T66" fmla="*/ 407 w 422"/>
                <a:gd name="T67" fmla="*/ 0 h 30"/>
                <a:gd name="T68" fmla="*/ 15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15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0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0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2" y="2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684"/>
            <p:cNvSpPr>
              <a:spLocks/>
            </p:cNvSpPr>
            <p:nvPr/>
          </p:nvSpPr>
          <p:spPr bwMode="auto">
            <a:xfrm>
              <a:off x="5691188" y="1474788"/>
              <a:ext cx="31750" cy="120650"/>
            </a:xfrm>
            <a:custGeom>
              <a:avLst/>
              <a:gdLst>
                <a:gd name="T0" fmla="*/ 23 w 103"/>
                <a:gd name="T1" fmla="*/ 2 h 379"/>
                <a:gd name="T2" fmla="*/ 18 w 103"/>
                <a:gd name="T3" fmla="*/ 0 h 379"/>
                <a:gd name="T4" fmla="*/ 11 w 103"/>
                <a:gd name="T5" fmla="*/ 0 h 379"/>
                <a:gd name="T6" fmla="*/ 6 w 103"/>
                <a:gd name="T7" fmla="*/ 2 h 379"/>
                <a:gd name="T8" fmla="*/ 2 w 103"/>
                <a:gd name="T9" fmla="*/ 7 h 379"/>
                <a:gd name="T10" fmla="*/ 0 w 103"/>
                <a:gd name="T11" fmla="*/ 12 h 379"/>
                <a:gd name="T12" fmla="*/ 0 w 103"/>
                <a:gd name="T13" fmla="*/ 18 h 379"/>
                <a:gd name="T14" fmla="*/ 2 w 103"/>
                <a:gd name="T15" fmla="*/ 24 h 379"/>
                <a:gd name="T16" fmla="*/ 13 w 103"/>
                <a:gd name="T17" fmla="*/ 35 h 379"/>
                <a:gd name="T18" fmla="*/ 26 w 103"/>
                <a:gd name="T19" fmla="*/ 52 h 379"/>
                <a:gd name="T20" fmla="*/ 39 w 103"/>
                <a:gd name="T21" fmla="*/ 71 h 379"/>
                <a:gd name="T22" fmla="*/ 50 w 103"/>
                <a:gd name="T23" fmla="*/ 90 h 379"/>
                <a:gd name="T24" fmla="*/ 59 w 103"/>
                <a:gd name="T25" fmla="*/ 112 h 379"/>
                <a:gd name="T26" fmla="*/ 65 w 103"/>
                <a:gd name="T27" fmla="*/ 133 h 379"/>
                <a:gd name="T28" fmla="*/ 69 w 103"/>
                <a:gd name="T29" fmla="*/ 155 h 379"/>
                <a:gd name="T30" fmla="*/ 72 w 103"/>
                <a:gd name="T31" fmla="*/ 178 h 379"/>
                <a:gd name="T32" fmla="*/ 72 w 103"/>
                <a:gd name="T33" fmla="*/ 201 h 379"/>
                <a:gd name="T34" fmla="*/ 69 w 103"/>
                <a:gd name="T35" fmla="*/ 224 h 379"/>
                <a:gd name="T36" fmla="*/ 65 w 103"/>
                <a:gd name="T37" fmla="*/ 246 h 379"/>
                <a:gd name="T38" fmla="*/ 59 w 103"/>
                <a:gd name="T39" fmla="*/ 267 h 379"/>
                <a:gd name="T40" fmla="*/ 50 w 103"/>
                <a:gd name="T41" fmla="*/ 289 h 379"/>
                <a:gd name="T42" fmla="*/ 39 w 103"/>
                <a:gd name="T43" fmla="*/ 308 h 379"/>
                <a:gd name="T44" fmla="*/ 26 w 103"/>
                <a:gd name="T45" fmla="*/ 327 h 379"/>
                <a:gd name="T46" fmla="*/ 13 w 103"/>
                <a:gd name="T47" fmla="*/ 345 h 379"/>
                <a:gd name="T48" fmla="*/ 2 w 103"/>
                <a:gd name="T49" fmla="*/ 355 h 379"/>
                <a:gd name="T50" fmla="*/ 0 w 103"/>
                <a:gd name="T51" fmla="*/ 361 h 379"/>
                <a:gd name="T52" fmla="*/ 0 w 103"/>
                <a:gd name="T53" fmla="*/ 367 h 379"/>
                <a:gd name="T54" fmla="*/ 2 w 103"/>
                <a:gd name="T55" fmla="*/ 372 h 379"/>
                <a:gd name="T56" fmla="*/ 6 w 103"/>
                <a:gd name="T57" fmla="*/ 377 h 379"/>
                <a:gd name="T58" fmla="*/ 11 w 103"/>
                <a:gd name="T59" fmla="*/ 379 h 379"/>
                <a:gd name="T60" fmla="*/ 18 w 103"/>
                <a:gd name="T61" fmla="*/ 379 h 379"/>
                <a:gd name="T62" fmla="*/ 23 w 103"/>
                <a:gd name="T63" fmla="*/ 377 h 379"/>
                <a:gd name="T64" fmla="*/ 34 w 103"/>
                <a:gd name="T65" fmla="*/ 365 h 379"/>
                <a:gd name="T66" fmla="*/ 51 w 103"/>
                <a:gd name="T67" fmla="*/ 346 h 379"/>
                <a:gd name="T68" fmla="*/ 65 w 103"/>
                <a:gd name="T69" fmla="*/ 324 h 379"/>
                <a:gd name="T70" fmla="*/ 77 w 103"/>
                <a:gd name="T71" fmla="*/ 302 h 379"/>
                <a:gd name="T72" fmla="*/ 87 w 103"/>
                <a:gd name="T73" fmla="*/ 278 h 379"/>
                <a:gd name="T74" fmla="*/ 94 w 103"/>
                <a:gd name="T75" fmla="*/ 253 h 379"/>
                <a:gd name="T76" fmla="*/ 99 w 103"/>
                <a:gd name="T77" fmla="*/ 229 h 379"/>
                <a:gd name="T78" fmla="*/ 102 w 103"/>
                <a:gd name="T79" fmla="*/ 203 h 379"/>
                <a:gd name="T80" fmla="*/ 102 w 103"/>
                <a:gd name="T81" fmla="*/ 176 h 379"/>
                <a:gd name="T82" fmla="*/ 99 w 103"/>
                <a:gd name="T83" fmla="*/ 150 h 379"/>
                <a:gd name="T84" fmla="*/ 94 w 103"/>
                <a:gd name="T85" fmla="*/ 126 h 379"/>
                <a:gd name="T86" fmla="*/ 87 w 103"/>
                <a:gd name="T87" fmla="*/ 101 h 379"/>
                <a:gd name="T88" fmla="*/ 77 w 103"/>
                <a:gd name="T89" fmla="*/ 77 h 379"/>
                <a:gd name="T90" fmla="*/ 65 w 103"/>
                <a:gd name="T91" fmla="*/ 55 h 379"/>
                <a:gd name="T92" fmla="*/ 51 w 103"/>
                <a:gd name="T93" fmla="*/ 33 h 379"/>
                <a:gd name="T94" fmla="*/ 34 w 103"/>
                <a:gd name="T95" fmla="*/ 1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3" h="379">
                  <a:moveTo>
                    <a:pt x="25" y="5"/>
                  </a:moveTo>
                  <a:lnTo>
                    <a:pt x="23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13" y="35"/>
                  </a:lnTo>
                  <a:lnTo>
                    <a:pt x="20" y="43"/>
                  </a:lnTo>
                  <a:lnTo>
                    <a:pt x="26" y="52"/>
                  </a:lnTo>
                  <a:lnTo>
                    <a:pt x="33" y="61"/>
                  </a:lnTo>
                  <a:lnTo>
                    <a:pt x="39" y="71"/>
                  </a:lnTo>
                  <a:lnTo>
                    <a:pt x="45" y="81"/>
                  </a:lnTo>
                  <a:lnTo>
                    <a:pt x="50" y="90"/>
                  </a:lnTo>
                  <a:lnTo>
                    <a:pt x="54" y="101"/>
                  </a:lnTo>
                  <a:lnTo>
                    <a:pt x="59" y="112"/>
                  </a:lnTo>
                  <a:lnTo>
                    <a:pt x="62" y="122"/>
                  </a:lnTo>
                  <a:lnTo>
                    <a:pt x="65" y="133"/>
                  </a:lnTo>
                  <a:lnTo>
                    <a:pt x="67" y="144"/>
                  </a:lnTo>
                  <a:lnTo>
                    <a:pt x="69" y="155"/>
                  </a:lnTo>
                  <a:lnTo>
                    <a:pt x="70" y="166"/>
                  </a:lnTo>
                  <a:lnTo>
                    <a:pt x="72" y="178"/>
                  </a:lnTo>
                  <a:lnTo>
                    <a:pt x="72" y="189"/>
                  </a:lnTo>
                  <a:lnTo>
                    <a:pt x="72" y="201"/>
                  </a:lnTo>
                  <a:lnTo>
                    <a:pt x="70" y="213"/>
                  </a:lnTo>
                  <a:lnTo>
                    <a:pt x="69" y="224"/>
                  </a:lnTo>
                  <a:lnTo>
                    <a:pt x="67" y="235"/>
                  </a:lnTo>
                  <a:lnTo>
                    <a:pt x="65" y="246"/>
                  </a:lnTo>
                  <a:lnTo>
                    <a:pt x="62" y="257"/>
                  </a:lnTo>
                  <a:lnTo>
                    <a:pt x="59" y="267"/>
                  </a:lnTo>
                  <a:lnTo>
                    <a:pt x="54" y="278"/>
                  </a:lnTo>
                  <a:lnTo>
                    <a:pt x="50" y="289"/>
                  </a:lnTo>
                  <a:lnTo>
                    <a:pt x="45" y="298"/>
                  </a:lnTo>
                  <a:lnTo>
                    <a:pt x="39" y="308"/>
                  </a:lnTo>
                  <a:lnTo>
                    <a:pt x="33" y="318"/>
                  </a:lnTo>
                  <a:lnTo>
                    <a:pt x="26" y="327"/>
                  </a:lnTo>
                  <a:lnTo>
                    <a:pt x="20" y="336"/>
                  </a:lnTo>
                  <a:lnTo>
                    <a:pt x="13" y="345"/>
                  </a:lnTo>
                  <a:lnTo>
                    <a:pt x="4" y="353"/>
                  </a:lnTo>
                  <a:lnTo>
                    <a:pt x="2" y="355"/>
                  </a:lnTo>
                  <a:lnTo>
                    <a:pt x="1" y="358"/>
                  </a:lnTo>
                  <a:lnTo>
                    <a:pt x="0" y="361"/>
                  </a:lnTo>
                  <a:lnTo>
                    <a:pt x="0" y="364"/>
                  </a:lnTo>
                  <a:lnTo>
                    <a:pt x="0" y="367"/>
                  </a:lnTo>
                  <a:lnTo>
                    <a:pt x="1" y="369"/>
                  </a:lnTo>
                  <a:lnTo>
                    <a:pt x="2" y="372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9" y="378"/>
                  </a:lnTo>
                  <a:lnTo>
                    <a:pt x="11" y="379"/>
                  </a:lnTo>
                  <a:lnTo>
                    <a:pt x="15" y="379"/>
                  </a:lnTo>
                  <a:lnTo>
                    <a:pt x="18" y="379"/>
                  </a:lnTo>
                  <a:lnTo>
                    <a:pt x="20" y="378"/>
                  </a:lnTo>
                  <a:lnTo>
                    <a:pt x="23" y="377"/>
                  </a:lnTo>
                  <a:lnTo>
                    <a:pt x="25" y="375"/>
                  </a:lnTo>
                  <a:lnTo>
                    <a:pt x="34" y="365"/>
                  </a:lnTo>
                  <a:lnTo>
                    <a:pt x="43" y="355"/>
                  </a:lnTo>
                  <a:lnTo>
                    <a:pt x="51" y="346"/>
                  </a:lnTo>
                  <a:lnTo>
                    <a:pt x="59" y="335"/>
                  </a:lnTo>
                  <a:lnTo>
                    <a:pt x="65" y="324"/>
                  </a:lnTo>
                  <a:lnTo>
                    <a:pt x="72" y="312"/>
                  </a:lnTo>
                  <a:lnTo>
                    <a:pt x="77" y="302"/>
                  </a:lnTo>
                  <a:lnTo>
                    <a:pt x="82" y="290"/>
                  </a:lnTo>
                  <a:lnTo>
                    <a:pt x="87" y="278"/>
                  </a:lnTo>
                  <a:lnTo>
                    <a:pt x="91" y="266"/>
                  </a:lnTo>
                  <a:lnTo>
                    <a:pt x="94" y="253"/>
                  </a:lnTo>
                  <a:lnTo>
                    <a:pt x="97" y="242"/>
                  </a:lnTo>
                  <a:lnTo>
                    <a:pt x="99" y="229"/>
                  </a:lnTo>
                  <a:lnTo>
                    <a:pt x="100" y="216"/>
                  </a:lnTo>
                  <a:lnTo>
                    <a:pt x="102" y="203"/>
                  </a:lnTo>
                  <a:lnTo>
                    <a:pt x="103" y="189"/>
                  </a:lnTo>
                  <a:lnTo>
                    <a:pt x="102" y="176"/>
                  </a:lnTo>
                  <a:lnTo>
                    <a:pt x="100" y="163"/>
                  </a:lnTo>
                  <a:lnTo>
                    <a:pt x="99" y="150"/>
                  </a:lnTo>
                  <a:lnTo>
                    <a:pt x="97" y="139"/>
                  </a:lnTo>
                  <a:lnTo>
                    <a:pt x="94" y="126"/>
                  </a:lnTo>
                  <a:lnTo>
                    <a:pt x="91" y="113"/>
                  </a:lnTo>
                  <a:lnTo>
                    <a:pt x="87" y="101"/>
                  </a:lnTo>
                  <a:lnTo>
                    <a:pt x="82" y="89"/>
                  </a:lnTo>
                  <a:lnTo>
                    <a:pt x="77" y="77"/>
                  </a:lnTo>
                  <a:lnTo>
                    <a:pt x="72" y="67"/>
                  </a:lnTo>
                  <a:lnTo>
                    <a:pt x="65" y="55"/>
                  </a:lnTo>
                  <a:lnTo>
                    <a:pt x="59" y="44"/>
                  </a:lnTo>
                  <a:lnTo>
                    <a:pt x="51" y="33"/>
                  </a:lnTo>
                  <a:lnTo>
                    <a:pt x="43" y="24"/>
                  </a:lnTo>
                  <a:lnTo>
                    <a:pt x="34" y="14"/>
                  </a:lnTo>
                  <a:lnTo>
                    <a:pt x="25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685"/>
            <p:cNvSpPr>
              <a:spLocks/>
            </p:cNvSpPr>
            <p:nvPr/>
          </p:nvSpPr>
          <p:spPr bwMode="auto">
            <a:xfrm>
              <a:off x="5713413" y="1457325"/>
              <a:ext cx="39688" cy="153988"/>
            </a:xfrm>
            <a:custGeom>
              <a:avLst/>
              <a:gdLst>
                <a:gd name="T0" fmla="*/ 23 w 124"/>
                <a:gd name="T1" fmla="*/ 2 h 485"/>
                <a:gd name="T2" fmla="*/ 18 w 124"/>
                <a:gd name="T3" fmla="*/ 0 h 485"/>
                <a:gd name="T4" fmla="*/ 11 w 124"/>
                <a:gd name="T5" fmla="*/ 0 h 485"/>
                <a:gd name="T6" fmla="*/ 6 w 124"/>
                <a:gd name="T7" fmla="*/ 2 h 485"/>
                <a:gd name="T8" fmla="*/ 2 w 124"/>
                <a:gd name="T9" fmla="*/ 6 h 485"/>
                <a:gd name="T10" fmla="*/ 0 w 124"/>
                <a:gd name="T11" fmla="*/ 11 h 485"/>
                <a:gd name="T12" fmla="*/ 0 w 124"/>
                <a:gd name="T13" fmla="*/ 17 h 485"/>
                <a:gd name="T14" fmla="*/ 2 w 124"/>
                <a:gd name="T15" fmla="*/ 22 h 485"/>
                <a:gd name="T16" fmla="*/ 15 w 124"/>
                <a:gd name="T17" fmla="*/ 36 h 485"/>
                <a:gd name="T18" fmla="*/ 34 w 124"/>
                <a:gd name="T19" fmla="*/ 60 h 485"/>
                <a:gd name="T20" fmla="*/ 50 w 124"/>
                <a:gd name="T21" fmla="*/ 84 h 485"/>
                <a:gd name="T22" fmla="*/ 65 w 124"/>
                <a:gd name="T23" fmla="*/ 111 h 485"/>
                <a:gd name="T24" fmla="*/ 76 w 124"/>
                <a:gd name="T25" fmla="*/ 139 h 485"/>
                <a:gd name="T26" fmla="*/ 84 w 124"/>
                <a:gd name="T27" fmla="*/ 167 h 485"/>
                <a:gd name="T28" fmla="*/ 91 w 124"/>
                <a:gd name="T29" fmla="*/ 197 h 485"/>
                <a:gd name="T30" fmla="*/ 94 w 124"/>
                <a:gd name="T31" fmla="*/ 227 h 485"/>
                <a:gd name="T32" fmla="*/ 94 w 124"/>
                <a:gd name="T33" fmla="*/ 258 h 485"/>
                <a:gd name="T34" fmla="*/ 91 w 124"/>
                <a:gd name="T35" fmla="*/ 288 h 485"/>
                <a:gd name="T36" fmla="*/ 84 w 124"/>
                <a:gd name="T37" fmla="*/ 318 h 485"/>
                <a:gd name="T38" fmla="*/ 76 w 124"/>
                <a:gd name="T39" fmla="*/ 346 h 485"/>
                <a:gd name="T40" fmla="*/ 65 w 124"/>
                <a:gd name="T41" fmla="*/ 374 h 485"/>
                <a:gd name="T42" fmla="*/ 50 w 124"/>
                <a:gd name="T43" fmla="*/ 401 h 485"/>
                <a:gd name="T44" fmla="*/ 34 w 124"/>
                <a:gd name="T45" fmla="*/ 425 h 485"/>
                <a:gd name="T46" fmla="*/ 15 w 124"/>
                <a:gd name="T47" fmla="*/ 449 h 485"/>
                <a:gd name="T48" fmla="*/ 2 w 124"/>
                <a:gd name="T49" fmla="*/ 462 h 485"/>
                <a:gd name="T50" fmla="*/ 0 w 124"/>
                <a:gd name="T51" fmla="*/ 468 h 485"/>
                <a:gd name="T52" fmla="*/ 0 w 124"/>
                <a:gd name="T53" fmla="*/ 474 h 485"/>
                <a:gd name="T54" fmla="*/ 2 w 124"/>
                <a:gd name="T55" fmla="*/ 479 h 485"/>
                <a:gd name="T56" fmla="*/ 6 w 124"/>
                <a:gd name="T57" fmla="*/ 483 h 485"/>
                <a:gd name="T58" fmla="*/ 11 w 124"/>
                <a:gd name="T59" fmla="*/ 485 h 485"/>
                <a:gd name="T60" fmla="*/ 18 w 124"/>
                <a:gd name="T61" fmla="*/ 485 h 485"/>
                <a:gd name="T62" fmla="*/ 23 w 124"/>
                <a:gd name="T63" fmla="*/ 483 h 485"/>
                <a:gd name="T64" fmla="*/ 37 w 124"/>
                <a:gd name="T65" fmla="*/ 469 h 485"/>
                <a:gd name="T66" fmla="*/ 58 w 124"/>
                <a:gd name="T67" fmla="*/ 444 h 485"/>
                <a:gd name="T68" fmla="*/ 77 w 124"/>
                <a:gd name="T69" fmla="*/ 416 h 485"/>
                <a:gd name="T70" fmla="*/ 92 w 124"/>
                <a:gd name="T71" fmla="*/ 387 h 485"/>
                <a:gd name="T72" fmla="*/ 105 w 124"/>
                <a:gd name="T73" fmla="*/ 357 h 485"/>
                <a:gd name="T74" fmla="*/ 114 w 124"/>
                <a:gd name="T75" fmla="*/ 325 h 485"/>
                <a:gd name="T76" fmla="*/ 121 w 124"/>
                <a:gd name="T77" fmla="*/ 292 h 485"/>
                <a:gd name="T78" fmla="*/ 124 w 124"/>
                <a:gd name="T79" fmla="*/ 259 h 485"/>
                <a:gd name="T80" fmla="*/ 124 w 124"/>
                <a:gd name="T81" fmla="*/ 226 h 485"/>
                <a:gd name="T82" fmla="*/ 121 w 124"/>
                <a:gd name="T83" fmla="*/ 193 h 485"/>
                <a:gd name="T84" fmla="*/ 114 w 124"/>
                <a:gd name="T85" fmla="*/ 160 h 485"/>
                <a:gd name="T86" fmla="*/ 105 w 124"/>
                <a:gd name="T87" fmla="*/ 128 h 485"/>
                <a:gd name="T88" fmla="*/ 92 w 124"/>
                <a:gd name="T89" fmla="*/ 98 h 485"/>
                <a:gd name="T90" fmla="*/ 77 w 124"/>
                <a:gd name="T91" fmla="*/ 69 h 485"/>
                <a:gd name="T92" fmla="*/ 58 w 124"/>
                <a:gd name="T93" fmla="*/ 41 h 485"/>
                <a:gd name="T94" fmla="*/ 37 w 124"/>
                <a:gd name="T95" fmla="*/ 1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485">
                  <a:moveTo>
                    <a:pt x="25" y="4"/>
                  </a:moveTo>
                  <a:lnTo>
                    <a:pt x="23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5"/>
                  </a:lnTo>
                  <a:lnTo>
                    <a:pt x="15" y="36"/>
                  </a:lnTo>
                  <a:lnTo>
                    <a:pt x="24" y="48"/>
                  </a:lnTo>
                  <a:lnTo>
                    <a:pt x="34" y="60"/>
                  </a:lnTo>
                  <a:lnTo>
                    <a:pt x="42" y="71"/>
                  </a:lnTo>
                  <a:lnTo>
                    <a:pt x="50" y="84"/>
                  </a:lnTo>
                  <a:lnTo>
                    <a:pt x="58" y="97"/>
                  </a:lnTo>
                  <a:lnTo>
                    <a:pt x="65" y="111"/>
                  </a:lnTo>
                  <a:lnTo>
                    <a:pt x="70" y="125"/>
                  </a:lnTo>
                  <a:lnTo>
                    <a:pt x="76" y="139"/>
                  </a:lnTo>
                  <a:lnTo>
                    <a:pt x="81" y="153"/>
                  </a:lnTo>
                  <a:lnTo>
                    <a:pt x="84" y="167"/>
                  </a:lnTo>
                  <a:lnTo>
                    <a:pt x="88" y="182"/>
                  </a:lnTo>
                  <a:lnTo>
                    <a:pt x="91" y="197"/>
                  </a:lnTo>
                  <a:lnTo>
                    <a:pt x="93" y="212"/>
                  </a:lnTo>
                  <a:lnTo>
                    <a:pt x="94" y="227"/>
                  </a:lnTo>
                  <a:lnTo>
                    <a:pt x="94" y="242"/>
                  </a:lnTo>
                  <a:lnTo>
                    <a:pt x="94" y="258"/>
                  </a:lnTo>
                  <a:lnTo>
                    <a:pt x="93" y="273"/>
                  </a:lnTo>
                  <a:lnTo>
                    <a:pt x="91" y="288"/>
                  </a:lnTo>
                  <a:lnTo>
                    <a:pt x="88" y="303"/>
                  </a:lnTo>
                  <a:lnTo>
                    <a:pt x="84" y="318"/>
                  </a:lnTo>
                  <a:lnTo>
                    <a:pt x="81" y="332"/>
                  </a:lnTo>
                  <a:lnTo>
                    <a:pt x="76" y="346"/>
                  </a:lnTo>
                  <a:lnTo>
                    <a:pt x="70" y="360"/>
                  </a:lnTo>
                  <a:lnTo>
                    <a:pt x="65" y="374"/>
                  </a:lnTo>
                  <a:lnTo>
                    <a:pt x="58" y="388"/>
                  </a:lnTo>
                  <a:lnTo>
                    <a:pt x="50" y="401"/>
                  </a:lnTo>
                  <a:lnTo>
                    <a:pt x="42" y="414"/>
                  </a:lnTo>
                  <a:lnTo>
                    <a:pt x="34" y="425"/>
                  </a:lnTo>
                  <a:lnTo>
                    <a:pt x="24" y="437"/>
                  </a:lnTo>
                  <a:lnTo>
                    <a:pt x="15" y="449"/>
                  </a:lnTo>
                  <a:lnTo>
                    <a:pt x="4" y="460"/>
                  </a:lnTo>
                  <a:lnTo>
                    <a:pt x="2" y="462"/>
                  </a:lnTo>
                  <a:lnTo>
                    <a:pt x="1" y="465"/>
                  </a:lnTo>
                  <a:lnTo>
                    <a:pt x="0" y="468"/>
                  </a:lnTo>
                  <a:lnTo>
                    <a:pt x="0" y="470"/>
                  </a:lnTo>
                  <a:lnTo>
                    <a:pt x="0" y="474"/>
                  </a:lnTo>
                  <a:lnTo>
                    <a:pt x="1" y="476"/>
                  </a:lnTo>
                  <a:lnTo>
                    <a:pt x="2" y="479"/>
                  </a:lnTo>
                  <a:lnTo>
                    <a:pt x="4" y="481"/>
                  </a:lnTo>
                  <a:lnTo>
                    <a:pt x="6" y="483"/>
                  </a:lnTo>
                  <a:lnTo>
                    <a:pt x="9" y="484"/>
                  </a:lnTo>
                  <a:lnTo>
                    <a:pt x="11" y="485"/>
                  </a:lnTo>
                  <a:lnTo>
                    <a:pt x="15" y="485"/>
                  </a:lnTo>
                  <a:lnTo>
                    <a:pt x="18" y="485"/>
                  </a:lnTo>
                  <a:lnTo>
                    <a:pt x="20" y="484"/>
                  </a:lnTo>
                  <a:lnTo>
                    <a:pt x="23" y="483"/>
                  </a:lnTo>
                  <a:lnTo>
                    <a:pt x="25" y="481"/>
                  </a:lnTo>
                  <a:lnTo>
                    <a:pt x="37" y="469"/>
                  </a:lnTo>
                  <a:lnTo>
                    <a:pt x="48" y="457"/>
                  </a:lnTo>
                  <a:lnTo>
                    <a:pt x="58" y="444"/>
                  </a:lnTo>
                  <a:lnTo>
                    <a:pt x="67" y="430"/>
                  </a:lnTo>
                  <a:lnTo>
                    <a:pt x="77" y="416"/>
                  </a:lnTo>
                  <a:lnTo>
                    <a:pt x="84" y="402"/>
                  </a:lnTo>
                  <a:lnTo>
                    <a:pt x="92" y="387"/>
                  </a:lnTo>
                  <a:lnTo>
                    <a:pt x="98" y="372"/>
                  </a:lnTo>
                  <a:lnTo>
                    <a:pt x="105" y="357"/>
                  </a:lnTo>
                  <a:lnTo>
                    <a:pt x="110" y="341"/>
                  </a:lnTo>
                  <a:lnTo>
                    <a:pt x="114" y="325"/>
                  </a:lnTo>
                  <a:lnTo>
                    <a:pt x="118" y="308"/>
                  </a:lnTo>
                  <a:lnTo>
                    <a:pt x="121" y="292"/>
                  </a:lnTo>
                  <a:lnTo>
                    <a:pt x="122" y="276"/>
                  </a:lnTo>
                  <a:lnTo>
                    <a:pt x="124" y="259"/>
                  </a:lnTo>
                  <a:lnTo>
                    <a:pt x="124" y="242"/>
                  </a:lnTo>
                  <a:lnTo>
                    <a:pt x="124" y="226"/>
                  </a:lnTo>
                  <a:lnTo>
                    <a:pt x="122" y="209"/>
                  </a:lnTo>
                  <a:lnTo>
                    <a:pt x="121" y="193"/>
                  </a:lnTo>
                  <a:lnTo>
                    <a:pt x="118" y="177"/>
                  </a:lnTo>
                  <a:lnTo>
                    <a:pt x="114" y="160"/>
                  </a:lnTo>
                  <a:lnTo>
                    <a:pt x="110" y="144"/>
                  </a:lnTo>
                  <a:lnTo>
                    <a:pt x="105" y="128"/>
                  </a:lnTo>
                  <a:lnTo>
                    <a:pt x="98" y="113"/>
                  </a:lnTo>
                  <a:lnTo>
                    <a:pt x="92" y="98"/>
                  </a:lnTo>
                  <a:lnTo>
                    <a:pt x="84" y="83"/>
                  </a:lnTo>
                  <a:lnTo>
                    <a:pt x="77" y="69"/>
                  </a:lnTo>
                  <a:lnTo>
                    <a:pt x="67" y="55"/>
                  </a:lnTo>
                  <a:lnTo>
                    <a:pt x="58" y="41"/>
                  </a:lnTo>
                  <a:lnTo>
                    <a:pt x="48" y="29"/>
                  </a:lnTo>
                  <a:lnTo>
                    <a:pt x="37" y="16"/>
                  </a:lnTo>
                  <a:lnTo>
                    <a:pt x="25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686"/>
            <p:cNvSpPr>
              <a:spLocks/>
            </p:cNvSpPr>
            <p:nvPr/>
          </p:nvSpPr>
          <p:spPr bwMode="auto">
            <a:xfrm>
              <a:off x="5667375" y="1492250"/>
              <a:ext cx="25400" cy="85725"/>
            </a:xfrm>
            <a:custGeom>
              <a:avLst/>
              <a:gdLst>
                <a:gd name="T0" fmla="*/ 23 w 80"/>
                <a:gd name="T1" fmla="*/ 2 h 271"/>
                <a:gd name="T2" fmla="*/ 18 w 80"/>
                <a:gd name="T3" fmla="*/ 0 h 271"/>
                <a:gd name="T4" fmla="*/ 13 w 80"/>
                <a:gd name="T5" fmla="*/ 0 h 271"/>
                <a:gd name="T6" fmla="*/ 7 w 80"/>
                <a:gd name="T7" fmla="*/ 2 h 271"/>
                <a:gd name="T8" fmla="*/ 3 w 80"/>
                <a:gd name="T9" fmla="*/ 6 h 271"/>
                <a:gd name="T10" fmla="*/ 1 w 80"/>
                <a:gd name="T11" fmla="*/ 12 h 271"/>
                <a:gd name="T12" fmla="*/ 1 w 80"/>
                <a:gd name="T13" fmla="*/ 18 h 271"/>
                <a:gd name="T14" fmla="*/ 3 w 80"/>
                <a:gd name="T15" fmla="*/ 23 h 271"/>
                <a:gd name="T16" fmla="*/ 15 w 80"/>
                <a:gd name="T17" fmla="*/ 36 h 271"/>
                <a:gd name="T18" fmla="*/ 32 w 80"/>
                <a:gd name="T19" fmla="*/ 62 h 271"/>
                <a:gd name="T20" fmla="*/ 44 w 80"/>
                <a:gd name="T21" fmla="*/ 90 h 271"/>
                <a:gd name="T22" fmla="*/ 49 w 80"/>
                <a:gd name="T23" fmla="*/ 120 h 271"/>
                <a:gd name="T24" fmla="*/ 49 w 80"/>
                <a:gd name="T25" fmla="*/ 151 h 271"/>
                <a:gd name="T26" fmla="*/ 44 w 80"/>
                <a:gd name="T27" fmla="*/ 181 h 271"/>
                <a:gd name="T28" fmla="*/ 32 w 80"/>
                <a:gd name="T29" fmla="*/ 209 h 271"/>
                <a:gd name="T30" fmla="*/ 15 w 80"/>
                <a:gd name="T31" fmla="*/ 235 h 271"/>
                <a:gd name="T32" fmla="*/ 3 w 80"/>
                <a:gd name="T33" fmla="*/ 248 h 271"/>
                <a:gd name="T34" fmla="*/ 1 w 80"/>
                <a:gd name="T35" fmla="*/ 253 h 271"/>
                <a:gd name="T36" fmla="*/ 1 w 80"/>
                <a:gd name="T37" fmla="*/ 259 h 271"/>
                <a:gd name="T38" fmla="*/ 3 w 80"/>
                <a:gd name="T39" fmla="*/ 265 h 271"/>
                <a:gd name="T40" fmla="*/ 7 w 80"/>
                <a:gd name="T41" fmla="*/ 269 h 271"/>
                <a:gd name="T42" fmla="*/ 13 w 80"/>
                <a:gd name="T43" fmla="*/ 271 h 271"/>
                <a:gd name="T44" fmla="*/ 18 w 80"/>
                <a:gd name="T45" fmla="*/ 271 h 271"/>
                <a:gd name="T46" fmla="*/ 23 w 80"/>
                <a:gd name="T47" fmla="*/ 269 h 271"/>
                <a:gd name="T48" fmla="*/ 38 w 80"/>
                <a:gd name="T49" fmla="*/ 253 h 271"/>
                <a:gd name="T50" fmla="*/ 59 w 80"/>
                <a:gd name="T51" fmla="*/ 223 h 271"/>
                <a:gd name="T52" fmla="*/ 73 w 80"/>
                <a:gd name="T53" fmla="*/ 190 h 271"/>
                <a:gd name="T54" fmla="*/ 79 w 80"/>
                <a:gd name="T55" fmla="*/ 154 h 271"/>
                <a:gd name="T56" fmla="*/ 79 w 80"/>
                <a:gd name="T57" fmla="*/ 117 h 271"/>
                <a:gd name="T58" fmla="*/ 73 w 80"/>
                <a:gd name="T59" fmla="*/ 81 h 271"/>
                <a:gd name="T60" fmla="*/ 59 w 80"/>
                <a:gd name="T61" fmla="*/ 48 h 271"/>
                <a:gd name="T62" fmla="*/ 38 w 80"/>
                <a:gd name="T63" fmla="*/ 1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" h="271">
                  <a:moveTo>
                    <a:pt x="25" y="4"/>
                  </a:moveTo>
                  <a:lnTo>
                    <a:pt x="23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15" y="36"/>
                  </a:lnTo>
                  <a:lnTo>
                    <a:pt x="24" y="49"/>
                  </a:lnTo>
                  <a:lnTo>
                    <a:pt x="32" y="62"/>
                  </a:lnTo>
                  <a:lnTo>
                    <a:pt x="38" y="76"/>
                  </a:lnTo>
                  <a:lnTo>
                    <a:pt x="44" y="90"/>
                  </a:lnTo>
                  <a:lnTo>
                    <a:pt x="47" y="105"/>
                  </a:lnTo>
                  <a:lnTo>
                    <a:pt x="49" y="120"/>
                  </a:lnTo>
                  <a:lnTo>
                    <a:pt x="50" y="135"/>
                  </a:lnTo>
                  <a:lnTo>
                    <a:pt x="49" y="151"/>
                  </a:lnTo>
                  <a:lnTo>
                    <a:pt x="47" y="166"/>
                  </a:lnTo>
                  <a:lnTo>
                    <a:pt x="44" y="181"/>
                  </a:lnTo>
                  <a:lnTo>
                    <a:pt x="38" y="195"/>
                  </a:lnTo>
                  <a:lnTo>
                    <a:pt x="32" y="209"/>
                  </a:lnTo>
                  <a:lnTo>
                    <a:pt x="24" y="222"/>
                  </a:lnTo>
                  <a:lnTo>
                    <a:pt x="15" y="235"/>
                  </a:lnTo>
                  <a:lnTo>
                    <a:pt x="4" y="245"/>
                  </a:lnTo>
                  <a:lnTo>
                    <a:pt x="3" y="248"/>
                  </a:lnTo>
                  <a:lnTo>
                    <a:pt x="1" y="251"/>
                  </a:lnTo>
                  <a:lnTo>
                    <a:pt x="1" y="253"/>
                  </a:lnTo>
                  <a:lnTo>
                    <a:pt x="0" y="256"/>
                  </a:lnTo>
                  <a:lnTo>
                    <a:pt x="1" y="259"/>
                  </a:lnTo>
                  <a:lnTo>
                    <a:pt x="1" y="262"/>
                  </a:lnTo>
                  <a:lnTo>
                    <a:pt x="3" y="265"/>
                  </a:lnTo>
                  <a:lnTo>
                    <a:pt x="4" y="267"/>
                  </a:lnTo>
                  <a:lnTo>
                    <a:pt x="7" y="269"/>
                  </a:lnTo>
                  <a:lnTo>
                    <a:pt x="9" y="270"/>
                  </a:lnTo>
                  <a:lnTo>
                    <a:pt x="13" y="271"/>
                  </a:lnTo>
                  <a:lnTo>
                    <a:pt x="15" y="271"/>
                  </a:lnTo>
                  <a:lnTo>
                    <a:pt x="18" y="271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5" y="267"/>
                  </a:lnTo>
                  <a:lnTo>
                    <a:pt x="38" y="253"/>
                  </a:lnTo>
                  <a:lnTo>
                    <a:pt x="49" y="239"/>
                  </a:lnTo>
                  <a:lnTo>
                    <a:pt x="59" y="223"/>
                  </a:lnTo>
                  <a:lnTo>
                    <a:pt x="66" y="207"/>
                  </a:lnTo>
                  <a:lnTo>
                    <a:pt x="73" y="190"/>
                  </a:lnTo>
                  <a:lnTo>
                    <a:pt x="77" y="173"/>
                  </a:lnTo>
                  <a:lnTo>
                    <a:pt x="79" y="154"/>
                  </a:lnTo>
                  <a:lnTo>
                    <a:pt x="80" y="135"/>
                  </a:lnTo>
                  <a:lnTo>
                    <a:pt x="79" y="117"/>
                  </a:lnTo>
                  <a:lnTo>
                    <a:pt x="77" y="99"/>
                  </a:lnTo>
                  <a:lnTo>
                    <a:pt x="73" y="81"/>
                  </a:lnTo>
                  <a:lnTo>
                    <a:pt x="66" y="64"/>
                  </a:lnTo>
                  <a:lnTo>
                    <a:pt x="59" y="48"/>
                  </a:lnTo>
                  <a:lnTo>
                    <a:pt x="49" y="32"/>
                  </a:lnTo>
                  <a:lnTo>
                    <a:pt x="38" y="18"/>
                  </a:lnTo>
                  <a:lnTo>
                    <a:pt x="25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687"/>
            <p:cNvSpPr>
              <a:spLocks noEditPoints="1"/>
            </p:cNvSpPr>
            <p:nvPr/>
          </p:nvSpPr>
          <p:spPr bwMode="auto">
            <a:xfrm>
              <a:off x="5465763" y="1385888"/>
              <a:ext cx="182563" cy="249238"/>
            </a:xfrm>
            <a:custGeom>
              <a:avLst/>
              <a:gdLst>
                <a:gd name="T0" fmla="*/ 151 w 572"/>
                <a:gd name="T1" fmla="*/ 404 h 783"/>
                <a:gd name="T2" fmla="*/ 153 w 572"/>
                <a:gd name="T3" fmla="*/ 398 h 783"/>
                <a:gd name="T4" fmla="*/ 157 w 572"/>
                <a:gd name="T5" fmla="*/ 394 h 783"/>
                <a:gd name="T6" fmla="*/ 162 w 572"/>
                <a:gd name="T7" fmla="*/ 392 h 783"/>
                <a:gd name="T8" fmla="*/ 251 w 572"/>
                <a:gd name="T9" fmla="*/ 392 h 783"/>
                <a:gd name="T10" fmla="*/ 400 w 572"/>
                <a:gd name="T11" fmla="*/ 273 h 783"/>
                <a:gd name="T12" fmla="*/ 409 w 572"/>
                <a:gd name="T13" fmla="*/ 272 h 783"/>
                <a:gd name="T14" fmla="*/ 416 w 572"/>
                <a:gd name="T15" fmla="*/ 275 h 783"/>
                <a:gd name="T16" fmla="*/ 420 w 572"/>
                <a:gd name="T17" fmla="*/ 282 h 783"/>
                <a:gd name="T18" fmla="*/ 421 w 572"/>
                <a:gd name="T19" fmla="*/ 647 h 783"/>
                <a:gd name="T20" fmla="*/ 419 w 572"/>
                <a:gd name="T21" fmla="*/ 656 h 783"/>
                <a:gd name="T22" fmla="*/ 413 w 572"/>
                <a:gd name="T23" fmla="*/ 661 h 783"/>
                <a:gd name="T24" fmla="*/ 406 w 572"/>
                <a:gd name="T25" fmla="*/ 662 h 783"/>
                <a:gd name="T26" fmla="*/ 397 w 572"/>
                <a:gd name="T27" fmla="*/ 659 h 783"/>
                <a:gd name="T28" fmla="*/ 165 w 572"/>
                <a:gd name="T29" fmla="*/ 542 h 783"/>
                <a:gd name="T30" fmla="*/ 160 w 572"/>
                <a:gd name="T31" fmla="*/ 541 h 783"/>
                <a:gd name="T32" fmla="*/ 154 w 572"/>
                <a:gd name="T33" fmla="*/ 538 h 783"/>
                <a:gd name="T34" fmla="*/ 151 w 572"/>
                <a:gd name="T35" fmla="*/ 533 h 783"/>
                <a:gd name="T36" fmla="*/ 150 w 572"/>
                <a:gd name="T37" fmla="*/ 527 h 783"/>
                <a:gd name="T38" fmla="*/ 572 w 572"/>
                <a:gd name="T39" fmla="*/ 15 h 783"/>
                <a:gd name="T40" fmla="*/ 571 w 572"/>
                <a:gd name="T41" fmla="*/ 9 h 783"/>
                <a:gd name="T42" fmla="*/ 567 w 572"/>
                <a:gd name="T43" fmla="*/ 5 h 783"/>
                <a:gd name="T44" fmla="*/ 563 w 572"/>
                <a:gd name="T45" fmla="*/ 1 h 783"/>
                <a:gd name="T46" fmla="*/ 557 w 572"/>
                <a:gd name="T47" fmla="*/ 0 h 783"/>
                <a:gd name="T48" fmla="*/ 94 w 572"/>
                <a:gd name="T49" fmla="*/ 0 h 783"/>
                <a:gd name="T50" fmla="*/ 74 w 572"/>
                <a:gd name="T51" fmla="*/ 5 h 783"/>
                <a:gd name="T52" fmla="*/ 55 w 572"/>
                <a:gd name="T53" fmla="*/ 13 h 783"/>
                <a:gd name="T54" fmla="*/ 39 w 572"/>
                <a:gd name="T55" fmla="*/ 24 h 783"/>
                <a:gd name="T56" fmla="*/ 24 w 572"/>
                <a:gd name="T57" fmla="*/ 39 h 783"/>
                <a:gd name="T58" fmla="*/ 13 w 572"/>
                <a:gd name="T59" fmla="*/ 55 h 783"/>
                <a:gd name="T60" fmla="*/ 4 w 572"/>
                <a:gd name="T61" fmla="*/ 74 h 783"/>
                <a:gd name="T62" fmla="*/ 0 w 572"/>
                <a:gd name="T63" fmla="*/ 95 h 783"/>
                <a:gd name="T64" fmla="*/ 0 w 572"/>
                <a:gd name="T65" fmla="*/ 692 h 783"/>
                <a:gd name="T66" fmla="*/ 2 w 572"/>
                <a:gd name="T67" fmla="*/ 711 h 783"/>
                <a:gd name="T68" fmla="*/ 6 w 572"/>
                <a:gd name="T69" fmla="*/ 728 h 783"/>
                <a:gd name="T70" fmla="*/ 15 w 572"/>
                <a:gd name="T71" fmla="*/ 744 h 783"/>
                <a:gd name="T72" fmla="*/ 26 w 572"/>
                <a:gd name="T73" fmla="*/ 757 h 783"/>
                <a:gd name="T74" fmla="*/ 40 w 572"/>
                <a:gd name="T75" fmla="*/ 767 h 783"/>
                <a:gd name="T76" fmla="*/ 55 w 572"/>
                <a:gd name="T77" fmla="*/ 776 h 783"/>
                <a:gd name="T78" fmla="*/ 72 w 572"/>
                <a:gd name="T79" fmla="*/ 781 h 783"/>
                <a:gd name="T80" fmla="*/ 90 w 572"/>
                <a:gd name="T81" fmla="*/ 783 h 783"/>
                <a:gd name="T82" fmla="*/ 572 w 572"/>
                <a:gd name="T83" fmla="*/ 181 h 783"/>
                <a:gd name="T84" fmla="*/ 98 w 572"/>
                <a:gd name="T85" fmla="*/ 181 h 783"/>
                <a:gd name="T86" fmla="*/ 83 w 572"/>
                <a:gd name="T87" fmla="*/ 177 h 783"/>
                <a:gd name="T88" fmla="*/ 70 w 572"/>
                <a:gd name="T89" fmla="*/ 172 h 783"/>
                <a:gd name="T90" fmla="*/ 58 w 572"/>
                <a:gd name="T91" fmla="*/ 163 h 783"/>
                <a:gd name="T92" fmla="*/ 47 w 572"/>
                <a:gd name="T93" fmla="*/ 154 h 783"/>
                <a:gd name="T94" fmla="*/ 39 w 572"/>
                <a:gd name="T95" fmla="*/ 141 h 783"/>
                <a:gd name="T96" fmla="*/ 33 w 572"/>
                <a:gd name="T97" fmla="*/ 128 h 783"/>
                <a:gd name="T98" fmla="*/ 30 w 572"/>
                <a:gd name="T99" fmla="*/ 113 h 783"/>
                <a:gd name="T100" fmla="*/ 30 w 572"/>
                <a:gd name="T101" fmla="*/ 98 h 783"/>
                <a:gd name="T102" fmla="*/ 33 w 572"/>
                <a:gd name="T103" fmla="*/ 83 h 783"/>
                <a:gd name="T104" fmla="*/ 39 w 572"/>
                <a:gd name="T105" fmla="*/ 70 h 783"/>
                <a:gd name="T106" fmla="*/ 47 w 572"/>
                <a:gd name="T107" fmla="*/ 57 h 783"/>
                <a:gd name="T108" fmla="*/ 58 w 572"/>
                <a:gd name="T109" fmla="*/ 48 h 783"/>
                <a:gd name="T110" fmla="*/ 70 w 572"/>
                <a:gd name="T111" fmla="*/ 39 h 783"/>
                <a:gd name="T112" fmla="*/ 83 w 572"/>
                <a:gd name="T113" fmla="*/ 34 h 783"/>
                <a:gd name="T114" fmla="*/ 98 w 572"/>
                <a:gd name="T115" fmla="*/ 30 h 783"/>
                <a:gd name="T116" fmla="*/ 557 w 572"/>
                <a:gd name="T117" fmla="*/ 30 h 783"/>
                <a:gd name="T118" fmla="*/ 563 w 572"/>
                <a:gd name="T119" fmla="*/ 29 h 783"/>
                <a:gd name="T120" fmla="*/ 567 w 572"/>
                <a:gd name="T121" fmla="*/ 26 h 783"/>
                <a:gd name="T122" fmla="*/ 571 w 572"/>
                <a:gd name="T123" fmla="*/ 21 h 783"/>
                <a:gd name="T124" fmla="*/ 572 w 572"/>
                <a:gd name="T125" fmla="*/ 15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2" h="783">
                  <a:moveTo>
                    <a:pt x="150" y="407"/>
                  </a:moveTo>
                  <a:lnTo>
                    <a:pt x="151" y="404"/>
                  </a:lnTo>
                  <a:lnTo>
                    <a:pt x="151" y="400"/>
                  </a:lnTo>
                  <a:lnTo>
                    <a:pt x="153" y="398"/>
                  </a:lnTo>
                  <a:lnTo>
                    <a:pt x="154" y="396"/>
                  </a:lnTo>
                  <a:lnTo>
                    <a:pt x="157" y="394"/>
                  </a:lnTo>
                  <a:lnTo>
                    <a:pt x="160" y="393"/>
                  </a:lnTo>
                  <a:lnTo>
                    <a:pt x="162" y="392"/>
                  </a:lnTo>
                  <a:lnTo>
                    <a:pt x="165" y="392"/>
                  </a:lnTo>
                  <a:lnTo>
                    <a:pt x="251" y="392"/>
                  </a:lnTo>
                  <a:lnTo>
                    <a:pt x="397" y="275"/>
                  </a:lnTo>
                  <a:lnTo>
                    <a:pt x="400" y="273"/>
                  </a:lnTo>
                  <a:lnTo>
                    <a:pt x="404" y="272"/>
                  </a:lnTo>
                  <a:lnTo>
                    <a:pt x="409" y="272"/>
                  </a:lnTo>
                  <a:lnTo>
                    <a:pt x="413" y="273"/>
                  </a:lnTo>
                  <a:lnTo>
                    <a:pt x="416" y="275"/>
                  </a:lnTo>
                  <a:lnTo>
                    <a:pt x="419" y="278"/>
                  </a:lnTo>
                  <a:lnTo>
                    <a:pt x="420" y="282"/>
                  </a:lnTo>
                  <a:lnTo>
                    <a:pt x="421" y="287"/>
                  </a:lnTo>
                  <a:lnTo>
                    <a:pt x="421" y="647"/>
                  </a:lnTo>
                  <a:lnTo>
                    <a:pt x="420" y="651"/>
                  </a:lnTo>
                  <a:lnTo>
                    <a:pt x="419" y="656"/>
                  </a:lnTo>
                  <a:lnTo>
                    <a:pt x="416" y="659"/>
                  </a:lnTo>
                  <a:lnTo>
                    <a:pt x="413" y="661"/>
                  </a:lnTo>
                  <a:lnTo>
                    <a:pt x="410" y="662"/>
                  </a:lnTo>
                  <a:lnTo>
                    <a:pt x="406" y="662"/>
                  </a:lnTo>
                  <a:lnTo>
                    <a:pt x="401" y="662"/>
                  </a:lnTo>
                  <a:lnTo>
                    <a:pt x="397" y="659"/>
                  </a:lnTo>
                  <a:lnTo>
                    <a:pt x="251" y="542"/>
                  </a:lnTo>
                  <a:lnTo>
                    <a:pt x="165" y="542"/>
                  </a:lnTo>
                  <a:lnTo>
                    <a:pt x="162" y="542"/>
                  </a:lnTo>
                  <a:lnTo>
                    <a:pt x="160" y="541"/>
                  </a:lnTo>
                  <a:lnTo>
                    <a:pt x="157" y="540"/>
                  </a:lnTo>
                  <a:lnTo>
                    <a:pt x="154" y="538"/>
                  </a:lnTo>
                  <a:lnTo>
                    <a:pt x="153" y="536"/>
                  </a:lnTo>
                  <a:lnTo>
                    <a:pt x="151" y="533"/>
                  </a:lnTo>
                  <a:lnTo>
                    <a:pt x="151" y="530"/>
                  </a:lnTo>
                  <a:lnTo>
                    <a:pt x="150" y="527"/>
                  </a:lnTo>
                  <a:lnTo>
                    <a:pt x="150" y="407"/>
                  </a:lnTo>
                  <a:close/>
                  <a:moveTo>
                    <a:pt x="572" y="15"/>
                  </a:moveTo>
                  <a:lnTo>
                    <a:pt x="572" y="12"/>
                  </a:lnTo>
                  <a:lnTo>
                    <a:pt x="571" y="9"/>
                  </a:lnTo>
                  <a:lnTo>
                    <a:pt x="569" y="7"/>
                  </a:lnTo>
                  <a:lnTo>
                    <a:pt x="567" y="5"/>
                  </a:lnTo>
                  <a:lnTo>
                    <a:pt x="565" y="2"/>
                  </a:lnTo>
                  <a:lnTo>
                    <a:pt x="563" y="1"/>
                  </a:lnTo>
                  <a:lnTo>
                    <a:pt x="560" y="0"/>
                  </a:lnTo>
                  <a:lnTo>
                    <a:pt x="557" y="0"/>
                  </a:lnTo>
                  <a:lnTo>
                    <a:pt x="105" y="0"/>
                  </a:lnTo>
                  <a:lnTo>
                    <a:pt x="94" y="0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39" y="24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6"/>
                  </a:lnTo>
                  <a:lnTo>
                    <a:pt x="13" y="55"/>
                  </a:lnTo>
                  <a:lnTo>
                    <a:pt x="9" y="65"/>
                  </a:lnTo>
                  <a:lnTo>
                    <a:pt x="4" y="74"/>
                  </a:lnTo>
                  <a:lnTo>
                    <a:pt x="2" y="84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2" y="711"/>
                  </a:lnTo>
                  <a:lnTo>
                    <a:pt x="4" y="720"/>
                  </a:lnTo>
                  <a:lnTo>
                    <a:pt x="6" y="728"/>
                  </a:lnTo>
                  <a:lnTo>
                    <a:pt x="11" y="736"/>
                  </a:lnTo>
                  <a:lnTo>
                    <a:pt x="15" y="744"/>
                  </a:lnTo>
                  <a:lnTo>
                    <a:pt x="20" y="750"/>
                  </a:lnTo>
                  <a:lnTo>
                    <a:pt x="26" y="757"/>
                  </a:lnTo>
                  <a:lnTo>
                    <a:pt x="32" y="763"/>
                  </a:lnTo>
                  <a:lnTo>
                    <a:pt x="40" y="767"/>
                  </a:lnTo>
                  <a:lnTo>
                    <a:pt x="47" y="773"/>
                  </a:lnTo>
                  <a:lnTo>
                    <a:pt x="55" y="776"/>
                  </a:lnTo>
                  <a:lnTo>
                    <a:pt x="63" y="779"/>
                  </a:lnTo>
                  <a:lnTo>
                    <a:pt x="72" y="781"/>
                  </a:lnTo>
                  <a:lnTo>
                    <a:pt x="80" y="782"/>
                  </a:lnTo>
                  <a:lnTo>
                    <a:pt x="90" y="783"/>
                  </a:lnTo>
                  <a:lnTo>
                    <a:pt x="572" y="783"/>
                  </a:lnTo>
                  <a:lnTo>
                    <a:pt x="572" y="181"/>
                  </a:lnTo>
                  <a:lnTo>
                    <a:pt x="105" y="181"/>
                  </a:lnTo>
                  <a:lnTo>
                    <a:pt x="98" y="181"/>
                  </a:lnTo>
                  <a:lnTo>
                    <a:pt x="90" y="179"/>
                  </a:lnTo>
                  <a:lnTo>
                    <a:pt x="83" y="177"/>
                  </a:lnTo>
                  <a:lnTo>
                    <a:pt x="76" y="175"/>
                  </a:lnTo>
                  <a:lnTo>
                    <a:pt x="70" y="172"/>
                  </a:lnTo>
                  <a:lnTo>
                    <a:pt x="63" y="168"/>
                  </a:lnTo>
                  <a:lnTo>
                    <a:pt x="58" y="163"/>
                  </a:lnTo>
                  <a:lnTo>
                    <a:pt x="53" y="159"/>
                  </a:lnTo>
                  <a:lnTo>
                    <a:pt x="47" y="154"/>
                  </a:lnTo>
                  <a:lnTo>
                    <a:pt x="43" y="147"/>
                  </a:lnTo>
                  <a:lnTo>
                    <a:pt x="39" y="141"/>
                  </a:lnTo>
                  <a:lnTo>
                    <a:pt x="35" y="134"/>
                  </a:lnTo>
                  <a:lnTo>
                    <a:pt x="33" y="128"/>
                  </a:lnTo>
                  <a:lnTo>
                    <a:pt x="31" y="120"/>
                  </a:lnTo>
                  <a:lnTo>
                    <a:pt x="30" y="113"/>
                  </a:lnTo>
                  <a:lnTo>
                    <a:pt x="30" y="105"/>
                  </a:lnTo>
                  <a:lnTo>
                    <a:pt x="30" y="98"/>
                  </a:lnTo>
                  <a:lnTo>
                    <a:pt x="31" y="90"/>
                  </a:lnTo>
                  <a:lnTo>
                    <a:pt x="33" y="83"/>
                  </a:lnTo>
                  <a:lnTo>
                    <a:pt x="35" y="77"/>
                  </a:lnTo>
                  <a:lnTo>
                    <a:pt x="39" y="70"/>
                  </a:lnTo>
                  <a:lnTo>
                    <a:pt x="43" y="64"/>
                  </a:lnTo>
                  <a:lnTo>
                    <a:pt x="47" y="57"/>
                  </a:lnTo>
                  <a:lnTo>
                    <a:pt x="53" y="52"/>
                  </a:lnTo>
                  <a:lnTo>
                    <a:pt x="58" y="48"/>
                  </a:lnTo>
                  <a:lnTo>
                    <a:pt x="63" y="43"/>
                  </a:lnTo>
                  <a:lnTo>
                    <a:pt x="70" y="39"/>
                  </a:lnTo>
                  <a:lnTo>
                    <a:pt x="76" y="36"/>
                  </a:lnTo>
                  <a:lnTo>
                    <a:pt x="83" y="34"/>
                  </a:lnTo>
                  <a:lnTo>
                    <a:pt x="90" y="31"/>
                  </a:lnTo>
                  <a:lnTo>
                    <a:pt x="98" y="30"/>
                  </a:lnTo>
                  <a:lnTo>
                    <a:pt x="105" y="30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563" y="29"/>
                  </a:lnTo>
                  <a:lnTo>
                    <a:pt x="565" y="28"/>
                  </a:lnTo>
                  <a:lnTo>
                    <a:pt x="567" y="26"/>
                  </a:lnTo>
                  <a:lnTo>
                    <a:pt x="569" y="24"/>
                  </a:lnTo>
                  <a:lnTo>
                    <a:pt x="571" y="21"/>
                  </a:lnTo>
                  <a:lnTo>
                    <a:pt x="572" y="19"/>
                  </a:lnTo>
                  <a:lnTo>
                    <a:pt x="57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0" name="Freeform 2972"/>
          <p:cNvSpPr>
            <a:spLocks noEditPoints="1"/>
          </p:cNvSpPr>
          <p:nvPr/>
        </p:nvSpPr>
        <p:spPr bwMode="auto">
          <a:xfrm>
            <a:off x="1540510" y="4555727"/>
            <a:ext cx="284163" cy="266700"/>
          </a:xfrm>
          <a:custGeom>
            <a:avLst/>
            <a:gdLst>
              <a:gd name="T0" fmla="*/ 373 w 719"/>
              <a:gd name="T1" fmla="*/ 471 h 671"/>
              <a:gd name="T2" fmla="*/ 314 w 719"/>
              <a:gd name="T3" fmla="*/ 424 h 671"/>
              <a:gd name="T4" fmla="*/ 241 w 719"/>
              <a:gd name="T5" fmla="*/ 344 h 671"/>
              <a:gd name="T6" fmla="*/ 206 w 719"/>
              <a:gd name="T7" fmla="*/ 281 h 671"/>
              <a:gd name="T8" fmla="*/ 204 w 719"/>
              <a:gd name="T9" fmla="*/ 244 h 671"/>
              <a:gd name="T10" fmla="*/ 215 w 719"/>
              <a:gd name="T11" fmla="*/ 206 h 671"/>
              <a:gd name="T12" fmla="*/ 237 w 719"/>
              <a:gd name="T13" fmla="*/ 177 h 671"/>
              <a:gd name="T14" fmla="*/ 267 w 719"/>
              <a:gd name="T15" fmla="*/ 161 h 671"/>
              <a:gd name="T16" fmla="*/ 303 w 719"/>
              <a:gd name="T17" fmla="*/ 158 h 671"/>
              <a:gd name="T18" fmla="*/ 348 w 719"/>
              <a:gd name="T19" fmla="*/ 182 h 671"/>
              <a:gd name="T20" fmla="*/ 372 w 719"/>
              <a:gd name="T21" fmla="*/ 215 h 671"/>
              <a:gd name="T22" fmla="*/ 387 w 719"/>
              <a:gd name="T23" fmla="*/ 200 h 671"/>
              <a:gd name="T24" fmla="*/ 424 w 719"/>
              <a:gd name="T25" fmla="*/ 166 h 671"/>
              <a:gd name="T26" fmla="*/ 467 w 719"/>
              <a:gd name="T27" fmla="*/ 158 h 671"/>
              <a:gd name="T28" fmla="*/ 499 w 719"/>
              <a:gd name="T29" fmla="*/ 168 h 671"/>
              <a:gd name="T30" fmla="*/ 525 w 719"/>
              <a:gd name="T31" fmla="*/ 191 h 671"/>
              <a:gd name="T32" fmla="*/ 543 w 719"/>
              <a:gd name="T33" fmla="*/ 224 h 671"/>
              <a:gd name="T34" fmla="*/ 546 w 719"/>
              <a:gd name="T35" fmla="*/ 264 h 671"/>
              <a:gd name="T36" fmla="*/ 532 w 719"/>
              <a:gd name="T37" fmla="*/ 308 h 671"/>
              <a:gd name="T38" fmla="*/ 481 w 719"/>
              <a:gd name="T39" fmla="*/ 378 h 671"/>
              <a:gd name="T40" fmla="*/ 388 w 719"/>
              <a:gd name="T41" fmla="*/ 463 h 671"/>
              <a:gd name="T42" fmla="*/ 342 w 719"/>
              <a:gd name="T43" fmla="*/ 0 h 671"/>
              <a:gd name="T44" fmla="*/ 270 w 719"/>
              <a:gd name="T45" fmla="*/ 10 h 671"/>
              <a:gd name="T46" fmla="*/ 204 w 719"/>
              <a:gd name="T47" fmla="*/ 30 h 671"/>
              <a:gd name="T48" fmla="*/ 144 w 719"/>
              <a:gd name="T49" fmla="*/ 60 h 671"/>
              <a:gd name="T50" fmla="*/ 94 w 719"/>
              <a:gd name="T51" fmla="*/ 98 h 671"/>
              <a:gd name="T52" fmla="*/ 53 w 719"/>
              <a:gd name="T53" fmla="*/ 143 h 671"/>
              <a:gd name="T54" fmla="*/ 22 w 719"/>
              <a:gd name="T55" fmla="*/ 194 h 671"/>
              <a:gd name="T56" fmla="*/ 5 w 719"/>
              <a:gd name="T57" fmla="*/ 251 h 671"/>
              <a:gd name="T58" fmla="*/ 0 w 719"/>
              <a:gd name="T59" fmla="*/ 311 h 671"/>
              <a:gd name="T60" fmla="*/ 11 w 719"/>
              <a:gd name="T61" fmla="*/ 367 h 671"/>
              <a:gd name="T62" fmla="*/ 34 w 719"/>
              <a:gd name="T63" fmla="*/ 420 h 671"/>
              <a:gd name="T64" fmla="*/ 68 w 719"/>
              <a:gd name="T65" fmla="*/ 469 h 671"/>
              <a:gd name="T66" fmla="*/ 25 w 719"/>
              <a:gd name="T67" fmla="*/ 653 h 671"/>
              <a:gd name="T68" fmla="*/ 28 w 719"/>
              <a:gd name="T69" fmla="*/ 667 h 671"/>
              <a:gd name="T70" fmla="*/ 42 w 719"/>
              <a:gd name="T71" fmla="*/ 670 h 671"/>
              <a:gd name="T72" fmla="*/ 329 w 719"/>
              <a:gd name="T73" fmla="*/ 590 h 671"/>
              <a:gd name="T74" fmla="*/ 414 w 719"/>
              <a:gd name="T75" fmla="*/ 588 h 671"/>
              <a:gd name="T76" fmla="*/ 483 w 719"/>
              <a:gd name="T77" fmla="*/ 574 h 671"/>
              <a:gd name="T78" fmla="*/ 546 w 719"/>
              <a:gd name="T79" fmla="*/ 549 h 671"/>
              <a:gd name="T80" fmla="*/ 601 w 719"/>
              <a:gd name="T81" fmla="*/ 514 h 671"/>
              <a:gd name="T82" fmla="*/ 648 w 719"/>
              <a:gd name="T83" fmla="*/ 472 h 671"/>
              <a:gd name="T84" fmla="*/ 683 w 719"/>
              <a:gd name="T85" fmla="*/ 424 h 671"/>
              <a:gd name="T86" fmla="*/ 708 w 719"/>
              <a:gd name="T87" fmla="*/ 369 h 671"/>
              <a:gd name="T88" fmla="*/ 719 w 719"/>
              <a:gd name="T89" fmla="*/ 311 h 671"/>
              <a:gd name="T90" fmla="*/ 715 w 719"/>
              <a:gd name="T91" fmla="*/ 251 h 671"/>
              <a:gd name="T92" fmla="*/ 698 w 719"/>
              <a:gd name="T93" fmla="*/ 194 h 671"/>
              <a:gd name="T94" fmla="*/ 667 w 719"/>
              <a:gd name="T95" fmla="*/ 143 h 671"/>
              <a:gd name="T96" fmla="*/ 626 w 719"/>
              <a:gd name="T97" fmla="*/ 98 h 671"/>
              <a:gd name="T98" fmla="*/ 575 w 719"/>
              <a:gd name="T99" fmla="*/ 60 h 671"/>
              <a:gd name="T100" fmla="*/ 516 w 719"/>
              <a:gd name="T101" fmla="*/ 30 h 671"/>
              <a:gd name="T102" fmla="*/ 450 w 719"/>
              <a:gd name="T103" fmla="*/ 10 h 671"/>
              <a:gd name="T104" fmla="*/ 379 w 719"/>
              <a:gd name="T105" fmla="*/ 1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19" h="671">
                <a:moveTo>
                  <a:pt x="379" y="470"/>
                </a:moveTo>
                <a:lnTo>
                  <a:pt x="376" y="471"/>
                </a:lnTo>
                <a:lnTo>
                  <a:pt x="375" y="471"/>
                </a:lnTo>
                <a:lnTo>
                  <a:pt x="373" y="471"/>
                </a:lnTo>
                <a:lnTo>
                  <a:pt x="372" y="470"/>
                </a:lnTo>
                <a:lnTo>
                  <a:pt x="362" y="463"/>
                </a:lnTo>
                <a:lnTo>
                  <a:pt x="342" y="447"/>
                </a:lnTo>
                <a:lnTo>
                  <a:pt x="314" y="424"/>
                </a:lnTo>
                <a:lnTo>
                  <a:pt x="285" y="395"/>
                </a:lnTo>
                <a:lnTo>
                  <a:pt x="269" y="378"/>
                </a:lnTo>
                <a:lnTo>
                  <a:pt x="254" y="362"/>
                </a:lnTo>
                <a:lnTo>
                  <a:pt x="241" y="344"/>
                </a:lnTo>
                <a:lnTo>
                  <a:pt x="228" y="326"/>
                </a:lnTo>
                <a:lnTo>
                  <a:pt x="218" y="308"/>
                </a:lnTo>
                <a:lnTo>
                  <a:pt x="210" y="290"/>
                </a:lnTo>
                <a:lnTo>
                  <a:pt x="206" y="281"/>
                </a:lnTo>
                <a:lnTo>
                  <a:pt x="205" y="273"/>
                </a:lnTo>
                <a:lnTo>
                  <a:pt x="204" y="264"/>
                </a:lnTo>
                <a:lnTo>
                  <a:pt x="203" y="255"/>
                </a:lnTo>
                <a:lnTo>
                  <a:pt x="204" y="244"/>
                </a:lnTo>
                <a:lnTo>
                  <a:pt x="205" y="233"/>
                </a:lnTo>
                <a:lnTo>
                  <a:pt x="207" y="224"/>
                </a:lnTo>
                <a:lnTo>
                  <a:pt x="211" y="214"/>
                </a:lnTo>
                <a:lnTo>
                  <a:pt x="215" y="206"/>
                </a:lnTo>
                <a:lnTo>
                  <a:pt x="219" y="198"/>
                </a:lnTo>
                <a:lnTo>
                  <a:pt x="225" y="191"/>
                </a:lnTo>
                <a:lnTo>
                  <a:pt x="231" y="183"/>
                </a:lnTo>
                <a:lnTo>
                  <a:pt x="237" y="177"/>
                </a:lnTo>
                <a:lnTo>
                  <a:pt x="244" y="173"/>
                </a:lnTo>
                <a:lnTo>
                  <a:pt x="251" y="168"/>
                </a:lnTo>
                <a:lnTo>
                  <a:pt x="259" y="164"/>
                </a:lnTo>
                <a:lnTo>
                  <a:pt x="267" y="161"/>
                </a:lnTo>
                <a:lnTo>
                  <a:pt x="275" y="160"/>
                </a:lnTo>
                <a:lnTo>
                  <a:pt x="282" y="158"/>
                </a:lnTo>
                <a:lnTo>
                  <a:pt x="291" y="157"/>
                </a:lnTo>
                <a:lnTo>
                  <a:pt x="303" y="158"/>
                </a:lnTo>
                <a:lnTo>
                  <a:pt x="314" y="161"/>
                </a:lnTo>
                <a:lnTo>
                  <a:pt x="326" y="166"/>
                </a:lnTo>
                <a:lnTo>
                  <a:pt x="337" y="173"/>
                </a:lnTo>
                <a:lnTo>
                  <a:pt x="348" y="182"/>
                </a:lnTo>
                <a:lnTo>
                  <a:pt x="359" y="193"/>
                </a:lnTo>
                <a:lnTo>
                  <a:pt x="363" y="200"/>
                </a:lnTo>
                <a:lnTo>
                  <a:pt x="367" y="207"/>
                </a:lnTo>
                <a:lnTo>
                  <a:pt x="372" y="215"/>
                </a:lnTo>
                <a:lnTo>
                  <a:pt x="375" y="224"/>
                </a:lnTo>
                <a:lnTo>
                  <a:pt x="379" y="215"/>
                </a:lnTo>
                <a:lnTo>
                  <a:pt x="382" y="207"/>
                </a:lnTo>
                <a:lnTo>
                  <a:pt x="387" y="200"/>
                </a:lnTo>
                <a:lnTo>
                  <a:pt x="392" y="193"/>
                </a:lnTo>
                <a:lnTo>
                  <a:pt x="401" y="182"/>
                </a:lnTo>
                <a:lnTo>
                  <a:pt x="412" y="173"/>
                </a:lnTo>
                <a:lnTo>
                  <a:pt x="424" y="166"/>
                </a:lnTo>
                <a:lnTo>
                  <a:pt x="436" y="161"/>
                </a:lnTo>
                <a:lnTo>
                  <a:pt x="448" y="158"/>
                </a:lnTo>
                <a:lnTo>
                  <a:pt x="458" y="157"/>
                </a:lnTo>
                <a:lnTo>
                  <a:pt x="467" y="158"/>
                </a:lnTo>
                <a:lnTo>
                  <a:pt x="475" y="160"/>
                </a:lnTo>
                <a:lnTo>
                  <a:pt x="483" y="161"/>
                </a:lnTo>
                <a:lnTo>
                  <a:pt x="491" y="164"/>
                </a:lnTo>
                <a:lnTo>
                  <a:pt x="499" y="168"/>
                </a:lnTo>
                <a:lnTo>
                  <a:pt x="506" y="173"/>
                </a:lnTo>
                <a:lnTo>
                  <a:pt x="513" y="177"/>
                </a:lnTo>
                <a:lnTo>
                  <a:pt x="519" y="183"/>
                </a:lnTo>
                <a:lnTo>
                  <a:pt x="525" y="191"/>
                </a:lnTo>
                <a:lnTo>
                  <a:pt x="531" y="198"/>
                </a:lnTo>
                <a:lnTo>
                  <a:pt x="536" y="206"/>
                </a:lnTo>
                <a:lnTo>
                  <a:pt x="539" y="214"/>
                </a:lnTo>
                <a:lnTo>
                  <a:pt x="543" y="224"/>
                </a:lnTo>
                <a:lnTo>
                  <a:pt x="545" y="233"/>
                </a:lnTo>
                <a:lnTo>
                  <a:pt x="546" y="244"/>
                </a:lnTo>
                <a:lnTo>
                  <a:pt x="546" y="255"/>
                </a:lnTo>
                <a:lnTo>
                  <a:pt x="546" y="264"/>
                </a:lnTo>
                <a:lnTo>
                  <a:pt x="545" y="273"/>
                </a:lnTo>
                <a:lnTo>
                  <a:pt x="543" y="281"/>
                </a:lnTo>
                <a:lnTo>
                  <a:pt x="541" y="290"/>
                </a:lnTo>
                <a:lnTo>
                  <a:pt x="532" y="308"/>
                </a:lnTo>
                <a:lnTo>
                  <a:pt x="521" y="326"/>
                </a:lnTo>
                <a:lnTo>
                  <a:pt x="510" y="344"/>
                </a:lnTo>
                <a:lnTo>
                  <a:pt x="495" y="362"/>
                </a:lnTo>
                <a:lnTo>
                  <a:pt x="481" y="378"/>
                </a:lnTo>
                <a:lnTo>
                  <a:pt x="466" y="395"/>
                </a:lnTo>
                <a:lnTo>
                  <a:pt x="435" y="424"/>
                </a:lnTo>
                <a:lnTo>
                  <a:pt x="407" y="447"/>
                </a:lnTo>
                <a:lnTo>
                  <a:pt x="388" y="463"/>
                </a:lnTo>
                <a:lnTo>
                  <a:pt x="379" y="470"/>
                </a:lnTo>
                <a:lnTo>
                  <a:pt x="379" y="470"/>
                </a:lnTo>
                <a:close/>
                <a:moveTo>
                  <a:pt x="360" y="0"/>
                </a:moveTo>
                <a:lnTo>
                  <a:pt x="342" y="0"/>
                </a:lnTo>
                <a:lnTo>
                  <a:pt x="323" y="1"/>
                </a:lnTo>
                <a:lnTo>
                  <a:pt x="305" y="4"/>
                </a:lnTo>
                <a:lnTo>
                  <a:pt x="287" y="6"/>
                </a:lnTo>
                <a:lnTo>
                  <a:pt x="270" y="10"/>
                </a:lnTo>
                <a:lnTo>
                  <a:pt x="253" y="13"/>
                </a:lnTo>
                <a:lnTo>
                  <a:pt x="236" y="18"/>
                </a:lnTo>
                <a:lnTo>
                  <a:pt x="221" y="24"/>
                </a:lnTo>
                <a:lnTo>
                  <a:pt x="204" y="30"/>
                </a:lnTo>
                <a:lnTo>
                  <a:pt x="188" y="36"/>
                </a:lnTo>
                <a:lnTo>
                  <a:pt x="174" y="43"/>
                </a:lnTo>
                <a:lnTo>
                  <a:pt x="159" y="51"/>
                </a:lnTo>
                <a:lnTo>
                  <a:pt x="144" y="60"/>
                </a:lnTo>
                <a:lnTo>
                  <a:pt x="131" y="68"/>
                </a:lnTo>
                <a:lnTo>
                  <a:pt x="118" y="78"/>
                </a:lnTo>
                <a:lnTo>
                  <a:pt x="106" y="87"/>
                </a:lnTo>
                <a:lnTo>
                  <a:pt x="94" y="98"/>
                </a:lnTo>
                <a:lnTo>
                  <a:pt x="83" y="108"/>
                </a:lnTo>
                <a:lnTo>
                  <a:pt x="72" y="119"/>
                </a:lnTo>
                <a:lnTo>
                  <a:pt x="62" y="131"/>
                </a:lnTo>
                <a:lnTo>
                  <a:pt x="53" y="143"/>
                </a:lnTo>
                <a:lnTo>
                  <a:pt x="44" y="155"/>
                </a:lnTo>
                <a:lnTo>
                  <a:pt x="36" y="168"/>
                </a:lnTo>
                <a:lnTo>
                  <a:pt x="29" y="181"/>
                </a:lnTo>
                <a:lnTo>
                  <a:pt x="22" y="194"/>
                </a:lnTo>
                <a:lnTo>
                  <a:pt x="17" y="208"/>
                </a:lnTo>
                <a:lnTo>
                  <a:pt x="12" y="223"/>
                </a:lnTo>
                <a:lnTo>
                  <a:pt x="8" y="237"/>
                </a:lnTo>
                <a:lnTo>
                  <a:pt x="5" y="251"/>
                </a:lnTo>
                <a:lnTo>
                  <a:pt x="3" y="265"/>
                </a:lnTo>
                <a:lnTo>
                  <a:pt x="0" y="281"/>
                </a:lnTo>
                <a:lnTo>
                  <a:pt x="0" y="296"/>
                </a:lnTo>
                <a:lnTo>
                  <a:pt x="0" y="311"/>
                </a:lnTo>
                <a:lnTo>
                  <a:pt x="2" y="325"/>
                </a:lnTo>
                <a:lnTo>
                  <a:pt x="4" y="339"/>
                </a:lnTo>
                <a:lnTo>
                  <a:pt x="8" y="352"/>
                </a:lnTo>
                <a:lnTo>
                  <a:pt x="11" y="367"/>
                </a:lnTo>
                <a:lnTo>
                  <a:pt x="15" y="381"/>
                </a:lnTo>
                <a:lnTo>
                  <a:pt x="21" y="394"/>
                </a:lnTo>
                <a:lnTo>
                  <a:pt x="27" y="407"/>
                </a:lnTo>
                <a:lnTo>
                  <a:pt x="34" y="420"/>
                </a:lnTo>
                <a:lnTo>
                  <a:pt x="41" y="432"/>
                </a:lnTo>
                <a:lnTo>
                  <a:pt x="49" y="445"/>
                </a:lnTo>
                <a:lnTo>
                  <a:pt x="59" y="457"/>
                </a:lnTo>
                <a:lnTo>
                  <a:pt x="68" y="469"/>
                </a:lnTo>
                <a:lnTo>
                  <a:pt x="79" y="480"/>
                </a:lnTo>
                <a:lnTo>
                  <a:pt x="90" y="490"/>
                </a:lnTo>
                <a:lnTo>
                  <a:pt x="102" y="501"/>
                </a:lnTo>
                <a:lnTo>
                  <a:pt x="25" y="653"/>
                </a:lnTo>
                <a:lnTo>
                  <a:pt x="24" y="657"/>
                </a:lnTo>
                <a:lnTo>
                  <a:pt x="24" y="662"/>
                </a:lnTo>
                <a:lnTo>
                  <a:pt x="25" y="665"/>
                </a:lnTo>
                <a:lnTo>
                  <a:pt x="28" y="667"/>
                </a:lnTo>
                <a:lnTo>
                  <a:pt x="31" y="670"/>
                </a:lnTo>
                <a:lnTo>
                  <a:pt x="36" y="671"/>
                </a:lnTo>
                <a:lnTo>
                  <a:pt x="39" y="671"/>
                </a:lnTo>
                <a:lnTo>
                  <a:pt x="42" y="670"/>
                </a:lnTo>
                <a:lnTo>
                  <a:pt x="240" y="574"/>
                </a:lnTo>
                <a:lnTo>
                  <a:pt x="268" y="582"/>
                </a:lnTo>
                <a:lnTo>
                  <a:pt x="299" y="587"/>
                </a:lnTo>
                <a:lnTo>
                  <a:pt x="329" y="590"/>
                </a:lnTo>
                <a:lnTo>
                  <a:pt x="360" y="591"/>
                </a:lnTo>
                <a:lnTo>
                  <a:pt x="379" y="590"/>
                </a:lnTo>
                <a:lnTo>
                  <a:pt x="397" y="590"/>
                </a:lnTo>
                <a:lnTo>
                  <a:pt x="414" y="588"/>
                </a:lnTo>
                <a:lnTo>
                  <a:pt x="432" y="585"/>
                </a:lnTo>
                <a:lnTo>
                  <a:pt x="450" y="582"/>
                </a:lnTo>
                <a:lnTo>
                  <a:pt x="467" y="578"/>
                </a:lnTo>
                <a:lnTo>
                  <a:pt x="483" y="574"/>
                </a:lnTo>
                <a:lnTo>
                  <a:pt x="500" y="568"/>
                </a:lnTo>
                <a:lnTo>
                  <a:pt x="516" y="562"/>
                </a:lnTo>
                <a:lnTo>
                  <a:pt x="531" y="556"/>
                </a:lnTo>
                <a:lnTo>
                  <a:pt x="546" y="549"/>
                </a:lnTo>
                <a:lnTo>
                  <a:pt x="561" y="540"/>
                </a:lnTo>
                <a:lnTo>
                  <a:pt x="575" y="532"/>
                </a:lnTo>
                <a:lnTo>
                  <a:pt x="588" y="524"/>
                </a:lnTo>
                <a:lnTo>
                  <a:pt x="601" y="514"/>
                </a:lnTo>
                <a:lnTo>
                  <a:pt x="614" y="505"/>
                </a:lnTo>
                <a:lnTo>
                  <a:pt x="626" y="494"/>
                </a:lnTo>
                <a:lnTo>
                  <a:pt x="637" y="483"/>
                </a:lnTo>
                <a:lnTo>
                  <a:pt x="648" y="472"/>
                </a:lnTo>
                <a:lnTo>
                  <a:pt x="658" y="461"/>
                </a:lnTo>
                <a:lnTo>
                  <a:pt x="667" y="449"/>
                </a:lnTo>
                <a:lnTo>
                  <a:pt x="676" y="437"/>
                </a:lnTo>
                <a:lnTo>
                  <a:pt x="683" y="424"/>
                </a:lnTo>
                <a:lnTo>
                  <a:pt x="690" y="411"/>
                </a:lnTo>
                <a:lnTo>
                  <a:pt x="698" y="397"/>
                </a:lnTo>
                <a:lnTo>
                  <a:pt x="703" y="383"/>
                </a:lnTo>
                <a:lnTo>
                  <a:pt x="708" y="369"/>
                </a:lnTo>
                <a:lnTo>
                  <a:pt x="712" y="355"/>
                </a:lnTo>
                <a:lnTo>
                  <a:pt x="715" y="340"/>
                </a:lnTo>
                <a:lnTo>
                  <a:pt x="718" y="326"/>
                </a:lnTo>
                <a:lnTo>
                  <a:pt x="719" y="311"/>
                </a:lnTo>
                <a:lnTo>
                  <a:pt x="719" y="296"/>
                </a:lnTo>
                <a:lnTo>
                  <a:pt x="719" y="281"/>
                </a:lnTo>
                <a:lnTo>
                  <a:pt x="718" y="265"/>
                </a:lnTo>
                <a:lnTo>
                  <a:pt x="715" y="251"/>
                </a:lnTo>
                <a:lnTo>
                  <a:pt x="712" y="237"/>
                </a:lnTo>
                <a:lnTo>
                  <a:pt x="708" y="223"/>
                </a:lnTo>
                <a:lnTo>
                  <a:pt x="703" y="208"/>
                </a:lnTo>
                <a:lnTo>
                  <a:pt x="698" y="194"/>
                </a:lnTo>
                <a:lnTo>
                  <a:pt x="690" y="181"/>
                </a:lnTo>
                <a:lnTo>
                  <a:pt x="683" y="168"/>
                </a:lnTo>
                <a:lnTo>
                  <a:pt x="676" y="155"/>
                </a:lnTo>
                <a:lnTo>
                  <a:pt x="667" y="143"/>
                </a:lnTo>
                <a:lnTo>
                  <a:pt x="658" y="131"/>
                </a:lnTo>
                <a:lnTo>
                  <a:pt x="648" y="119"/>
                </a:lnTo>
                <a:lnTo>
                  <a:pt x="637" y="108"/>
                </a:lnTo>
                <a:lnTo>
                  <a:pt x="626" y="98"/>
                </a:lnTo>
                <a:lnTo>
                  <a:pt x="614" y="87"/>
                </a:lnTo>
                <a:lnTo>
                  <a:pt x="601" y="78"/>
                </a:lnTo>
                <a:lnTo>
                  <a:pt x="588" y="68"/>
                </a:lnTo>
                <a:lnTo>
                  <a:pt x="575" y="60"/>
                </a:lnTo>
                <a:lnTo>
                  <a:pt x="561" y="51"/>
                </a:lnTo>
                <a:lnTo>
                  <a:pt x="546" y="43"/>
                </a:lnTo>
                <a:lnTo>
                  <a:pt x="531" y="36"/>
                </a:lnTo>
                <a:lnTo>
                  <a:pt x="516" y="30"/>
                </a:lnTo>
                <a:lnTo>
                  <a:pt x="500" y="24"/>
                </a:lnTo>
                <a:lnTo>
                  <a:pt x="483" y="18"/>
                </a:lnTo>
                <a:lnTo>
                  <a:pt x="467" y="13"/>
                </a:lnTo>
                <a:lnTo>
                  <a:pt x="450" y="10"/>
                </a:lnTo>
                <a:lnTo>
                  <a:pt x="432" y="6"/>
                </a:lnTo>
                <a:lnTo>
                  <a:pt x="414" y="4"/>
                </a:lnTo>
                <a:lnTo>
                  <a:pt x="397" y="1"/>
                </a:lnTo>
                <a:lnTo>
                  <a:pt x="379" y="1"/>
                </a:lnTo>
                <a:lnTo>
                  <a:pt x="360" y="0"/>
                </a:lnTo>
                <a:lnTo>
                  <a:pt x="36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1" name="Group 380"/>
          <p:cNvGrpSpPr/>
          <p:nvPr/>
        </p:nvGrpSpPr>
        <p:grpSpPr>
          <a:xfrm>
            <a:off x="6801406" y="4548583"/>
            <a:ext cx="280988" cy="280988"/>
            <a:chOff x="6445250" y="2535238"/>
            <a:chExt cx="280988" cy="28098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82" name="Freeform 2270"/>
            <p:cNvSpPr>
              <a:spLocks/>
            </p:cNvSpPr>
            <p:nvPr/>
          </p:nvSpPr>
          <p:spPr bwMode="auto">
            <a:xfrm>
              <a:off x="6538913" y="2630488"/>
              <a:ext cx="93663" cy="173038"/>
            </a:xfrm>
            <a:custGeom>
              <a:avLst/>
              <a:gdLst>
                <a:gd name="T0" fmla="*/ 0 w 292"/>
                <a:gd name="T1" fmla="*/ 0 h 543"/>
                <a:gd name="T2" fmla="*/ 147 w 292"/>
                <a:gd name="T3" fmla="*/ 543 h 543"/>
                <a:gd name="T4" fmla="*/ 292 w 292"/>
                <a:gd name="T5" fmla="*/ 0 h 543"/>
                <a:gd name="T6" fmla="*/ 0 w 292"/>
                <a:gd name="T7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2" h="543">
                  <a:moveTo>
                    <a:pt x="0" y="0"/>
                  </a:moveTo>
                  <a:lnTo>
                    <a:pt x="147" y="543"/>
                  </a:lnTo>
                  <a:lnTo>
                    <a:pt x="29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2271"/>
            <p:cNvSpPr>
              <a:spLocks/>
            </p:cNvSpPr>
            <p:nvPr/>
          </p:nvSpPr>
          <p:spPr bwMode="auto">
            <a:xfrm>
              <a:off x="6542088" y="2544763"/>
              <a:ext cx="87313" cy="76200"/>
            </a:xfrm>
            <a:custGeom>
              <a:avLst/>
              <a:gdLst>
                <a:gd name="T0" fmla="*/ 278 w 278"/>
                <a:gd name="T1" fmla="*/ 242 h 242"/>
                <a:gd name="T2" fmla="*/ 139 w 278"/>
                <a:gd name="T3" fmla="*/ 0 h 242"/>
                <a:gd name="T4" fmla="*/ 0 w 278"/>
                <a:gd name="T5" fmla="*/ 242 h 242"/>
                <a:gd name="T6" fmla="*/ 278 w 278"/>
                <a:gd name="T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8" h="242">
                  <a:moveTo>
                    <a:pt x="278" y="242"/>
                  </a:moveTo>
                  <a:lnTo>
                    <a:pt x="139" y="0"/>
                  </a:lnTo>
                  <a:lnTo>
                    <a:pt x="0" y="242"/>
                  </a:lnTo>
                  <a:lnTo>
                    <a:pt x="278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2272"/>
            <p:cNvSpPr>
              <a:spLocks/>
            </p:cNvSpPr>
            <p:nvPr/>
          </p:nvSpPr>
          <p:spPr bwMode="auto">
            <a:xfrm>
              <a:off x="6591300" y="2535238"/>
              <a:ext cx="69850" cy="79375"/>
            </a:xfrm>
            <a:custGeom>
              <a:avLst/>
              <a:gdLst>
                <a:gd name="T0" fmla="*/ 219 w 219"/>
                <a:gd name="T1" fmla="*/ 0 h 248"/>
                <a:gd name="T2" fmla="*/ 0 w 219"/>
                <a:gd name="T3" fmla="*/ 0 h 248"/>
                <a:gd name="T4" fmla="*/ 144 w 219"/>
                <a:gd name="T5" fmla="*/ 248 h 248"/>
                <a:gd name="T6" fmla="*/ 219 w 219"/>
                <a:gd name="T7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48">
                  <a:moveTo>
                    <a:pt x="219" y="0"/>
                  </a:moveTo>
                  <a:lnTo>
                    <a:pt x="0" y="0"/>
                  </a:lnTo>
                  <a:lnTo>
                    <a:pt x="144" y="248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2273"/>
            <p:cNvSpPr>
              <a:spLocks/>
            </p:cNvSpPr>
            <p:nvPr/>
          </p:nvSpPr>
          <p:spPr bwMode="auto">
            <a:xfrm>
              <a:off x="6645275" y="2541588"/>
              <a:ext cx="80963" cy="79375"/>
            </a:xfrm>
            <a:custGeom>
              <a:avLst/>
              <a:gdLst>
                <a:gd name="T0" fmla="*/ 257 w 257"/>
                <a:gd name="T1" fmla="*/ 253 h 253"/>
                <a:gd name="T2" fmla="*/ 75 w 257"/>
                <a:gd name="T3" fmla="*/ 0 h 253"/>
                <a:gd name="T4" fmla="*/ 0 w 257"/>
                <a:gd name="T5" fmla="*/ 253 h 253"/>
                <a:gd name="T6" fmla="*/ 257 w 257"/>
                <a:gd name="T7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3">
                  <a:moveTo>
                    <a:pt x="257" y="253"/>
                  </a:moveTo>
                  <a:lnTo>
                    <a:pt x="75" y="0"/>
                  </a:lnTo>
                  <a:lnTo>
                    <a:pt x="0" y="253"/>
                  </a:lnTo>
                  <a:lnTo>
                    <a:pt x="25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2274"/>
            <p:cNvSpPr>
              <a:spLocks/>
            </p:cNvSpPr>
            <p:nvPr/>
          </p:nvSpPr>
          <p:spPr bwMode="auto">
            <a:xfrm>
              <a:off x="6510338" y="2535238"/>
              <a:ext cx="69850" cy="79375"/>
            </a:xfrm>
            <a:custGeom>
              <a:avLst/>
              <a:gdLst>
                <a:gd name="T0" fmla="*/ 219 w 219"/>
                <a:gd name="T1" fmla="*/ 0 h 248"/>
                <a:gd name="T2" fmla="*/ 0 w 219"/>
                <a:gd name="T3" fmla="*/ 0 h 248"/>
                <a:gd name="T4" fmla="*/ 75 w 219"/>
                <a:gd name="T5" fmla="*/ 248 h 248"/>
                <a:gd name="T6" fmla="*/ 219 w 219"/>
                <a:gd name="T7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48">
                  <a:moveTo>
                    <a:pt x="219" y="0"/>
                  </a:moveTo>
                  <a:lnTo>
                    <a:pt x="0" y="0"/>
                  </a:lnTo>
                  <a:lnTo>
                    <a:pt x="75" y="248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2275"/>
            <p:cNvSpPr>
              <a:spLocks/>
            </p:cNvSpPr>
            <p:nvPr/>
          </p:nvSpPr>
          <p:spPr bwMode="auto">
            <a:xfrm>
              <a:off x="6445250" y="2541588"/>
              <a:ext cx="80963" cy="79375"/>
            </a:xfrm>
            <a:custGeom>
              <a:avLst/>
              <a:gdLst>
                <a:gd name="T0" fmla="*/ 182 w 257"/>
                <a:gd name="T1" fmla="*/ 0 h 253"/>
                <a:gd name="T2" fmla="*/ 0 w 257"/>
                <a:gd name="T3" fmla="*/ 253 h 253"/>
                <a:gd name="T4" fmla="*/ 257 w 257"/>
                <a:gd name="T5" fmla="*/ 253 h 253"/>
                <a:gd name="T6" fmla="*/ 182 w 257"/>
                <a:gd name="T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3">
                  <a:moveTo>
                    <a:pt x="182" y="0"/>
                  </a:moveTo>
                  <a:lnTo>
                    <a:pt x="0" y="253"/>
                  </a:lnTo>
                  <a:lnTo>
                    <a:pt x="257" y="253"/>
                  </a:lnTo>
                  <a:lnTo>
                    <a:pt x="1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2276"/>
            <p:cNvSpPr>
              <a:spLocks/>
            </p:cNvSpPr>
            <p:nvPr/>
          </p:nvSpPr>
          <p:spPr bwMode="auto">
            <a:xfrm>
              <a:off x="6445250" y="2630488"/>
              <a:ext cx="133350" cy="185738"/>
            </a:xfrm>
            <a:custGeom>
              <a:avLst/>
              <a:gdLst>
                <a:gd name="T0" fmla="*/ 0 w 422"/>
                <a:gd name="T1" fmla="*/ 0 h 585"/>
                <a:gd name="T2" fmla="*/ 422 w 422"/>
                <a:gd name="T3" fmla="*/ 585 h 585"/>
                <a:gd name="T4" fmla="*/ 266 w 422"/>
                <a:gd name="T5" fmla="*/ 0 h 585"/>
                <a:gd name="T6" fmla="*/ 0 w 422"/>
                <a:gd name="T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2" h="585">
                  <a:moveTo>
                    <a:pt x="0" y="0"/>
                  </a:moveTo>
                  <a:lnTo>
                    <a:pt x="422" y="585"/>
                  </a:lnTo>
                  <a:lnTo>
                    <a:pt x="26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2277"/>
            <p:cNvSpPr>
              <a:spLocks/>
            </p:cNvSpPr>
            <p:nvPr/>
          </p:nvSpPr>
          <p:spPr bwMode="auto">
            <a:xfrm>
              <a:off x="6591300" y="2630488"/>
              <a:ext cx="134938" cy="185738"/>
            </a:xfrm>
            <a:custGeom>
              <a:avLst/>
              <a:gdLst>
                <a:gd name="T0" fmla="*/ 0 w 424"/>
                <a:gd name="T1" fmla="*/ 585 h 585"/>
                <a:gd name="T2" fmla="*/ 424 w 424"/>
                <a:gd name="T3" fmla="*/ 0 h 585"/>
                <a:gd name="T4" fmla="*/ 158 w 424"/>
                <a:gd name="T5" fmla="*/ 0 h 585"/>
                <a:gd name="T6" fmla="*/ 0 w 424"/>
                <a:gd name="T7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4" h="585">
                  <a:moveTo>
                    <a:pt x="0" y="585"/>
                  </a:moveTo>
                  <a:lnTo>
                    <a:pt x="424" y="0"/>
                  </a:lnTo>
                  <a:lnTo>
                    <a:pt x="158" y="0"/>
                  </a:lnTo>
                  <a:lnTo>
                    <a:pt x="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0" name="Group 389"/>
          <p:cNvGrpSpPr/>
          <p:nvPr/>
        </p:nvGrpSpPr>
        <p:grpSpPr>
          <a:xfrm>
            <a:off x="8565694" y="4545408"/>
            <a:ext cx="285750" cy="287338"/>
            <a:chOff x="9882188" y="3108325"/>
            <a:chExt cx="285750" cy="287338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91" name="Freeform 2284"/>
            <p:cNvSpPr>
              <a:spLocks/>
            </p:cNvSpPr>
            <p:nvPr/>
          </p:nvSpPr>
          <p:spPr bwMode="auto">
            <a:xfrm>
              <a:off x="9882188" y="3175000"/>
              <a:ext cx="219075" cy="220663"/>
            </a:xfrm>
            <a:custGeom>
              <a:avLst/>
              <a:gdLst>
                <a:gd name="T0" fmla="*/ 549 w 691"/>
                <a:gd name="T1" fmla="*/ 251 h 693"/>
                <a:gd name="T2" fmla="*/ 568 w 691"/>
                <a:gd name="T3" fmla="*/ 313 h 693"/>
                <a:gd name="T4" fmla="*/ 566 w 691"/>
                <a:gd name="T5" fmla="*/ 392 h 693"/>
                <a:gd name="T6" fmla="*/ 532 w 691"/>
                <a:gd name="T7" fmla="*/ 473 h 693"/>
                <a:gd name="T8" fmla="*/ 471 w 691"/>
                <a:gd name="T9" fmla="*/ 534 h 693"/>
                <a:gd name="T10" fmla="*/ 391 w 691"/>
                <a:gd name="T11" fmla="*/ 567 h 693"/>
                <a:gd name="T12" fmla="*/ 300 w 691"/>
                <a:gd name="T13" fmla="*/ 567 h 693"/>
                <a:gd name="T14" fmla="*/ 220 w 691"/>
                <a:gd name="T15" fmla="*/ 534 h 693"/>
                <a:gd name="T16" fmla="*/ 159 w 691"/>
                <a:gd name="T17" fmla="*/ 473 h 693"/>
                <a:gd name="T18" fmla="*/ 124 w 691"/>
                <a:gd name="T19" fmla="*/ 392 h 693"/>
                <a:gd name="T20" fmla="*/ 124 w 691"/>
                <a:gd name="T21" fmla="*/ 301 h 693"/>
                <a:gd name="T22" fmla="*/ 159 w 691"/>
                <a:gd name="T23" fmla="*/ 220 h 693"/>
                <a:gd name="T24" fmla="*/ 220 w 691"/>
                <a:gd name="T25" fmla="*/ 159 h 693"/>
                <a:gd name="T26" fmla="*/ 300 w 691"/>
                <a:gd name="T27" fmla="*/ 125 h 693"/>
                <a:gd name="T28" fmla="*/ 378 w 691"/>
                <a:gd name="T29" fmla="*/ 124 h 693"/>
                <a:gd name="T30" fmla="*/ 442 w 691"/>
                <a:gd name="T31" fmla="*/ 142 h 693"/>
                <a:gd name="T32" fmla="*/ 533 w 691"/>
                <a:gd name="T33" fmla="*/ 56 h 693"/>
                <a:gd name="T34" fmla="*/ 431 w 691"/>
                <a:gd name="T35" fmla="*/ 11 h 693"/>
                <a:gd name="T36" fmla="*/ 360 w 691"/>
                <a:gd name="T37" fmla="*/ 0 h 693"/>
                <a:gd name="T38" fmla="*/ 293 w 691"/>
                <a:gd name="T39" fmla="*/ 4 h 693"/>
                <a:gd name="T40" fmla="*/ 227 w 691"/>
                <a:gd name="T41" fmla="*/ 21 h 693"/>
                <a:gd name="T42" fmla="*/ 166 w 691"/>
                <a:gd name="T43" fmla="*/ 50 h 693"/>
                <a:gd name="T44" fmla="*/ 112 w 691"/>
                <a:gd name="T45" fmla="*/ 91 h 693"/>
                <a:gd name="T46" fmla="*/ 68 w 691"/>
                <a:gd name="T47" fmla="*/ 139 h 693"/>
                <a:gd name="T48" fmla="*/ 34 w 691"/>
                <a:gd name="T49" fmla="*/ 197 h 693"/>
                <a:gd name="T50" fmla="*/ 9 w 691"/>
                <a:gd name="T51" fmla="*/ 260 h 693"/>
                <a:gd name="T52" fmla="*/ 0 w 691"/>
                <a:gd name="T53" fmla="*/ 329 h 693"/>
                <a:gd name="T54" fmla="*/ 2 w 691"/>
                <a:gd name="T55" fmla="*/ 396 h 693"/>
                <a:gd name="T56" fmla="*/ 18 w 691"/>
                <a:gd name="T57" fmla="*/ 459 h 693"/>
                <a:gd name="T58" fmla="*/ 44 w 691"/>
                <a:gd name="T59" fmla="*/ 517 h 693"/>
                <a:gd name="T60" fmla="*/ 80 w 691"/>
                <a:gd name="T61" fmla="*/ 568 h 693"/>
                <a:gd name="T62" fmla="*/ 0 w 691"/>
                <a:gd name="T63" fmla="*/ 677 h 693"/>
                <a:gd name="T64" fmla="*/ 14 w 691"/>
                <a:gd name="T65" fmla="*/ 693 h 693"/>
                <a:gd name="T66" fmla="*/ 123 w 691"/>
                <a:gd name="T67" fmla="*/ 611 h 693"/>
                <a:gd name="T68" fmla="*/ 174 w 691"/>
                <a:gd name="T69" fmla="*/ 647 h 693"/>
                <a:gd name="T70" fmla="*/ 233 w 691"/>
                <a:gd name="T71" fmla="*/ 673 h 693"/>
                <a:gd name="T72" fmla="*/ 295 w 691"/>
                <a:gd name="T73" fmla="*/ 689 h 693"/>
                <a:gd name="T74" fmla="*/ 362 w 691"/>
                <a:gd name="T75" fmla="*/ 691 h 693"/>
                <a:gd name="T76" fmla="*/ 427 w 691"/>
                <a:gd name="T77" fmla="*/ 683 h 693"/>
                <a:gd name="T78" fmla="*/ 487 w 691"/>
                <a:gd name="T79" fmla="*/ 662 h 693"/>
                <a:gd name="T80" fmla="*/ 542 w 691"/>
                <a:gd name="T81" fmla="*/ 630 h 693"/>
                <a:gd name="T82" fmla="*/ 665 w 691"/>
                <a:gd name="T83" fmla="*/ 688 h 693"/>
                <a:gd name="T84" fmla="*/ 686 w 691"/>
                <a:gd name="T85" fmla="*/ 688 h 693"/>
                <a:gd name="T86" fmla="*/ 686 w 691"/>
                <a:gd name="T87" fmla="*/ 667 h 693"/>
                <a:gd name="T88" fmla="*/ 630 w 691"/>
                <a:gd name="T89" fmla="*/ 544 h 693"/>
                <a:gd name="T90" fmla="*/ 661 w 691"/>
                <a:gd name="T91" fmla="*/ 489 h 693"/>
                <a:gd name="T92" fmla="*/ 681 w 691"/>
                <a:gd name="T93" fmla="*/ 428 h 693"/>
                <a:gd name="T94" fmla="*/ 691 w 691"/>
                <a:gd name="T95" fmla="*/ 363 h 693"/>
                <a:gd name="T96" fmla="*/ 689 w 691"/>
                <a:gd name="T97" fmla="*/ 303 h 693"/>
                <a:gd name="T98" fmla="*/ 662 w 691"/>
                <a:gd name="T99" fmla="*/ 207 h 693"/>
                <a:gd name="T100" fmla="*/ 619 w 691"/>
                <a:gd name="T101" fmla="*/ 13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1" h="693">
                  <a:moveTo>
                    <a:pt x="619" y="136"/>
                  </a:moveTo>
                  <a:lnTo>
                    <a:pt x="533" y="222"/>
                  </a:lnTo>
                  <a:lnTo>
                    <a:pt x="542" y="236"/>
                  </a:lnTo>
                  <a:lnTo>
                    <a:pt x="549" y="251"/>
                  </a:lnTo>
                  <a:lnTo>
                    <a:pt x="555" y="265"/>
                  </a:lnTo>
                  <a:lnTo>
                    <a:pt x="560" y="280"/>
                  </a:lnTo>
                  <a:lnTo>
                    <a:pt x="565" y="296"/>
                  </a:lnTo>
                  <a:lnTo>
                    <a:pt x="568" y="313"/>
                  </a:lnTo>
                  <a:lnTo>
                    <a:pt x="570" y="329"/>
                  </a:lnTo>
                  <a:lnTo>
                    <a:pt x="571" y="346"/>
                  </a:lnTo>
                  <a:lnTo>
                    <a:pt x="570" y="369"/>
                  </a:lnTo>
                  <a:lnTo>
                    <a:pt x="566" y="392"/>
                  </a:lnTo>
                  <a:lnTo>
                    <a:pt x="560" y="413"/>
                  </a:lnTo>
                  <a:lnTo>
                    <a:pt x="553" y="434"/>
                  </a:lnTo>
                  <a:lnTo>
                    <a:pt x="543" y="453"/>
                  </a:lnTo>
                  <a:lnTo>
                    <a:pt x="532" y="473"/>
                  </a:lnTo>
                  <a:lnTo>
                    <a:pt x="519" y="490"/>
                  </a:lnTo>
                  <a:lnTo>
                    <a:pt x="504" y="506"/>
                  </a:lnTo>
                  <a:lnTo>
                    <a:pt x="488" y="520"/>
                  </a:lnTo>
                  <a:lnTo>
                    <a:pt x="471" y="534"/>
                  </a:lnTo>
                  <a:lnTo>
                    <a:pt x="453" y="545"/>
                  </a:lnTo>
                  <a:lnTo>
                    <a:pt x="433" y="555"/>
                  </a:lnTo>
                  <a:lnTo>
                    <a:pt x="413" y="562"/>
                  </a:lnTo>
                  <a:lnTo>
                    <a:pt x="391" y="567"/>
                  </a:lnTo>
                  <a:lnTo>
                    <a:pt x="369" y="571"/>
                  </a:lnTo>
                  <a:lnTo>
                    <a:pt x="345" y="572"/>
                  </a:lnTo>
                  <a:lnTo>
                    <a:pt x="322" y="571"/>
                  </a:lnTo>
                  <a:lnTo>
                    <a:pt x="300" y="567"/>
                  </a:lnTo>
                  <a:lnTo>
                    <a:pt x="278" y="562"/>
                  </a:lnTo>
                  <a:lnTo>
                    <a:pt x="257" y="555"/>
                  </a:lnTo>
                  <a:lnTo>
                    <a:pt x="238" y="545"/>
                  </a:lnTo>
                  <a:lnTo>
                    <a:pt x="220" y="534"/>
                  </a:lnTo>
                  <a:lnTo>
                    <a:pt x="201" y="520"/>
                  </a:lnTo>
                  <a:lnTo>
                    <a:pt x="185" y="506"/>
                  </a:lnTo>
                  <a:lnTo>
                    <a:pt x="171" y="490"/>
                  </a:lnTo>
                  <a:lnTo>
                    <a:pt x="159" y="473"/>
                  </a:lnTo>
                  <a:lnTo>
                    <a:pt x="146" y="453"/>
                  </a:lnTo>
                  <a:lnTo>
                    <a:pt x="138" y="434"/>
                  </a:lnTo>
                  <a:lnTo>
                    <a:pt x="129" y="413"/>
                  </a:lnTo>
                  <a:lnTo>
                    <a:pt x="124" y="392"/>
                  </a:lnTo>
                  <a:lnTo>
                    <a:pt x="121" y="369"/>
                  </a:lnTo>
                  <a:lnTo>
                    <a:pt x="119" y="346"/>
                  </a:lnTo>
                  <a:lnTo>
                    <a:pt x="121" y="324"/>
                  </a:lnTo>
                  <a:lnTo>
                    <a:pt x="124" y="301"/>
                  </a:lnTo>
                  <a:lnTo>
                    <a:pt x="129" y="280"/>
                  </a:lnTo>
                  <a:lnTo>
                    <a:pt x="138" y="259"/>
                  </a:lnTo>
                  <a:lnTo>
                    <a:pt x="146" y="238"/>
                  </a:lnTo>
                  <a:lnTo>
                    <a:pt x="159" y="220"/>
                  </a:lnTo>
                  <a:lnTo>
                    <a:pt x="171" y="203"/>
                  </a:lnTo>
                  <a:lnTo>
                    <a:pt x="185" y="187"/>
                  </a:lnTo>
                  <a:lnTo>
                    <a:pt x="201" y="172"/>
                  </a:lnTo>
                  <a:lnTo>
                    <a:pt x="220" y="159"/>
                  </a:lnTo>
                  <a:lnTo>
                    <a:pt x="238" y="148"/>
                  </a:lnTo>
                  <a:lnTo>
                    <a:pt x="257" y="138"/>
                  </a:lnTo>
                  <a:lnTo>
                    <a:pt x="278" y="131"/>
                  </a:lnTo>
                  <a:lnTo>
                    <a:pt x="300" y="125"/>
                  </a:lnTo>
                  <a:lnTo>
                    <a:pt x="322" y="122"/>
                  </a:lnTo>
                  <a:lnTo>
                    <a:pt x="345" y="121"/>
                  </a:lnTo>
                  <a:lnTo>
                    <a:pt x="362" y="121"/>
                  </a:lnTo>
                  <a:lnTo>
                    <a:pt x="378" y="124"/>
                  </a:lnTo>
                  <a:lnTo>
                    <a:pt x="395" y="126"/>
                  </a:lnTo>
                  <a:lnTo>
                    <a:pt x="411" y="131"/>
                  </a:lnTo>
                  <a:lnTo>
                    <a:pt x="426" y="136"/>
                  </a:lnTo>
                  <a:lnTo>
                    <a:pt x="442" y="142"/>
                  </a:lnTo>
                  <a:lnTo>
                    <a:pt x="455" y="149"/>
                  </a:lnTo>
                  <a:lnTo>
                    <a:pt x="470" y="158"/>
                  </a:lnTo>
                  <a:lnTo>
                    <a:pt x="555" y="72"/>
                  </a:lnTo>
                  <a:lnTo>
                    <a:pt x="533" y="56"/>
                  </a:lnTo>
                  <a:lnTo>
                    <a:pt x="509" y="42"/>
                  </a:lnTo>
                  <a:lnTo>
                    <a:pt x="485" y="30"/>
                  </a:lnTo>
                  <a:lnTo>
                    <a:pt x="458" y="20"/>
                  </a:lnTo>
                  <a:lnTo>
                    <a:pt x="431" y="11"/>
                  </a:lnTo>
                  <a:lnTo>
                    <a:pt x="403" y="5"/>
                  </a:lnTo>
                  <a:lnTo>
                    <a:pt x="389" y="3"/>
                  </a:lnTo>
                  <a:lnTo>
                    <a:pt x="375" y="1"/>
                  </a:lnTo>
                  <a:lnTo>
                    <a:pt x="360" y="0"/>
                  </a:lnTo>
                  <a:lnTo>
                    <a:pt x="345" y="0"/>
                  </a:lnTo>
                  <a:lnTo>
                    <a:pt x="327" y="1"/>
                  </a:lnTo>
                  <a:lnTo>
                    <a:pt x="310" y="3"/>
                  </a:lnTo>
                  <a:lnTo>
                    <a:pt x="293" y="4"/>
                  </a:lnTo>
                  <a:lnTo>
                    <a:pt x="276" y="8"/>
                  </a:lnTo>
                  <a:lnTo>
                    <a:pt x="259" y="11"/>
                  </a:lnTo>
                  <a:lnTo>
                    <a:pt x="243" y="16"/>
                  </a:lnTo>
                  <a:lnTo>
                    <a:pt x="227" y="21"/>
                  </a:lnTo>
                  <a:lnTo>
                    <a:pt x="211" y="27"/>
                  </a:lnTo>
                  <a:lnTo>
                    <a:pt x="195" y="34"/>
                  </a:lnTo>
                  <a:lnTo>
                    <a:pt x="180" y="42"/>
                  </a:lnTo>
                  <a:lnTo>
                    <a:pt x="166" y="50"/>
                  </a:lnTo>
                  <a:lnTo>
                    <a:pt x="152" y="60"/>
                  </a:lnTo>
                  <a:lnTo>
                    <a:pt x="138" y="69"/>
                  </a:lnTo>
                  <a:lnTo>
                    <a:pt x="126" y="80"/>
                  </a:lnTo>
                  <a:lnTo>
                    <a:pt x="112" y="91"/>
                  </a:lnTo>
                  <a:lnTo>
                    <a:pt x="101" y="102"/>
                  </a:lnTo>
                  <a:lnTo>
                    <a:pt x="89" y="114"/>
                  </a:lnTo>
                  <a:lnTo>
                    <a:pt x="78" y="126"/>
                  </a:lnTo>
                  <a:lnTo>
                    <a:pt x="68" y="139"/>
                  </a:lnTo>
                  <a:lnTo>
                    <a:pt x="58" y="153"/>
                  </a:lnTo>
                  <a:lnTo>
                    <a:pt x="50" y="168"/>
                  </a:lnTo>
                  <a:lnTo>
                    <a:pt x="41" y="182"/>
                  </a:lnTo>
                  <a:lnTo>
                    <a:pt x="34" y="197"/>
                  </a:lnTo>
                  <a:lnTo>
                    <a:pt x="27" y="212"/>
                  </a:lnTo>
                  <a:lnTo>
                    <a:pt x="20" y="227"/>
                  </a:lnTo>
                  <a:lnTo>
                    <a:pt x="14" y="243"/>
                  </a:lnTo>
                  <a:lnTo>
                    <a:pt x="9" y="260"/>
                  </a:lnTo>
                  <a:lnTo>
                    <a:pt x="6" y="276"/>
                  </a:lnTo>
                  <a:lnTo>
                    <a:pt x="3" y="293"/>
                  </a:lnTo>
                  <a:lnTo>
                    <a:pt x="1" y="310"/>
                  </a:lnTo>
                  <a:lnTo>
                    <a:pt x="0" y="329"/>
                  </a:lnTo>
                  <a:lnTo>
                    <a:pt x="0" y="346"/>
                  </a:lnTo>
                  <a:lnTo>
                    <a:pt x="0" y="363"/>
                  </a:lnTo>
                  <a:lnTo>
                    <a:pt x="1" y="380"/>
                  </a:lnTo>
                  <a:lnTo>
                    <a:pt x="2" y="396"/>
                  </a:lnTo>
                  <a:lnTo>
                    <a:pt x="6" y="412"/>
                  </a:lnTo>
                  <a:lnTo>
                    <a:pt x="9" y="428"/>
                  </a:lnTo>
                  <a:lnTo>
                    <a:pt x="13" y="444"/>
                  </a:lnTo>
                  <a:lnTo>
                    <a:pt x="18" y="459"/>
                  </a:lnTo>
                  <a:lnTo>
                    <a:pt x="23" y="474"/>
                  </a:lnTo>
                  <a:lnTo>
                    <a:pt x="30" y="489"/>
                  </a:lnTo>
                  <a:lnTo>
                    <a:pt x="36" y="502"/>
                  </a:lnTo>
                  <a:lnTo>
                    <a:pt x="44" y="517"/>
                  </a:lnTo>
                  <a:lnTo>
                    <a:pt x="52" y="530"/>
                  </a:lnTo>
                  <a:lnTo>
                    <a:pt x="61" y="544"/>
                  </a:lnTo>
                  <a:lnTo>
                    <a:pt x="71" y="556"/>
                  </a:lnTo>
                  <a:lnTo>
                    <a:pt x="80" y="568"/>
                  </a:lnTo>
                  <a:lnTo>
                    <a:pt x="90" y="580"/>
                  </a:lnTo>
                  <a:lnTo>
                    <a:pt x="3" y="667"/>
                  </a:lnTo>
                  <a:lnTo>
                    <a:pt x="0" y="672"/>
                  </a:lnTo>
                  <a:lnTo>
                    <a:pt x="0" y="677"/>
                  </a:lnTo>
                  <a:lnTo>
                    <a:pt x="0" y="683"/>
                  </a:lnTo>
                  <a:lnTo>
                    <a:pt x="3" y="688"/>
                  </a:lnTo>
                  <a:lnTo>
                    <a:pt x="8" y="691"/>
                  </a:lnTo>
                  <a:lnTo>
                    <a:pt x="14" y="693"/>
                  </a:lnTo>
                  <a:lnTo>
                    <a:pt x="20" y="691"/>
                  </a:lnTo>
                  <a:lnTo>
                    <a:pt x="25" y="688"/>
                  </a:lnTo>
                  <a:lnTo>
                    <a:pt x="112" y="601"/>
                  </a:lnTo>
                  <a:lnTo>
                    <a:pt x="123" y="611"/>
                  </a:lnTo>
                  <a:lnTo>
                    <a:pt x="135" y="622"/>
                  </a:lnTo>
                  <a:lnTo>
                    <a:pt x="149" y="630"/>
                  </a:lnTo>
                  <a:lnTo>
                    <a:pt x="161" y="639"/>
                  </a:lnTo>
                  <a:lnTo>
                    <a:pt x="174" y="647"/>
                  </a:lnTo>
                  <a:lnTo>
                    <a:pt x="189" y="655"/>
                  </a:lnTo>
                  <a:lnTo>
                    <a:pt x="202" y="662"/>
                  </a:lnTo>
                  <a:lnTo>
                    <a:pt x="217" y="668"/>
                  </a:lnTo>
                  <a:lnTo>
                    <a:pt x="233" y="673"/>
                  </a:lnTo>
                  <a:lnTo>
                    <a:pt x="248" y="678"/>
                  </a:lnTo>
                  <a:lnTo>
                    <a:pt x="264" y="683"/>
                  </a:lnTo>
                  <a:lnTo>
                    <a:pt x="279" y="687"/>
                  </a:lnTo>
                  <a:lnTo>
                    <a:pt x="295" y="689"/>
                  </a:lnTo>
                  <a:lnTo>
                    <a:pt x="311" y="690"/>
                  </a:lnTo>
                  <a:lnTo>
                    <a:pt x="328" y="691"/>
                  </a:lnTo>
                  <a:lnTo>
                    <a:pt x="345" y="693"/>
                  </a:lnTo>
                  <a:lnTo>
                    <a:pt x="362" y="691"/>
                  </a:lnTo>
                  <a:lnTo>
                    <a:pt x="378" y="690"/>
                  </a:lnTo>
                  <a:lnTo>
                    <a:pt x="394" y="689"/>
                  </a:lnTo>
                  <a:lnTo>
                    <a:pt x="411" y="687"/>
                  </a:lnTo>
                  <a:lnTo>
                    <a:pt x="427" y="683"/>
                  </a:lnTo>
                  <a:lnTo>
                    <a:pt x="442" y="678"/>
                  </a:lnTo>
                  <a:lnTo>
                    <a:pt x="458" y="673"/>
                  </a:lnTo>
                  <a:lnTo>
                    <a:pt x="472" y="668"/>
                  </a:lnTo>
                  <a:lnTo>
                    <a:pt x="487" y="662"/>
                  </a:lnTo>
                  <a:lnTo>
                    <a:pt x="502" y="655"/>
                  </a:lnTo>
                  <a:lnTo>
                    <a:pt x="515" y="647"/>
                  </a:lnTo>
                  <a:lnTo>
                    <a:pt x="529" y="639"/>
                  </a:lnTo>
                  <a:lnTo>
                    <a:pt x="542" y="630"/>
                  </a:lnTo>
                  <a:lnTo>
                    <a:pt x="554" y="622"/>
                  </a:lnTo>
                  <a:lnTo>
                    <a:pt x="566" y="612"/>
                  </a:lnTo>
                  <a:lnTo>
                    <a:pt x="579" y="601"/>
                  </a:lnTo>
                  <a:lnTo>
                    <a:pt x="665" y="688"/>
                  </a:lnTo>
                  <a:lnTo>
                    <a:pt x="670" y="691"/>
                  </a:lnTo>
                  <a:lnTo>
                    <a:pt x="676" y="693"/>
                  </a:lnTo>
                  <a:lnTo>
                    <a:pt x="681" y="691"/>
                  </a:lnTo>
                  <a:lnTo>
                    <a:pt x="686" y="688"/>
                  </a:lnTo>
                  <a:lnTo>
                    <a:pt x="690" y="683"/>
                  </a:lnTo>
                  <a:lnTo>
                    <a:pt x="691" y="677"/>
                  </a:lnTo>
                  <a:lnTo>
                    <a:pt x="690" y="672"/>
                  </a:lnTo>
                  <a:lnTo>
                    <a:pt x="686" y="667"/>
                  </a:lnTo>
                  <a:lnTo>
                    <a:pt x="601" y="580"/>
                  </a:lnTo>
                  <a:lnTo>
                    <a:pt x="610" y="568"/>
                  </a:lnTo>
                  <a:lnTo>
                    <a:pt x="620" y="556"/>
                  </a:lnTo>
                  <a:lnTo>
                    <a:pt x="630" y="544"/>
                  </a:lnTo>
                  <a:lnTo>
                    <a:pt x="639" y="530"/>
                  </a:lnTo>
                  <a:lnTo>
                    <a:pt x="646" y="517"/>
                  </a:lnTo>
                  <a:lnTo>
                    <a:pt x="653" y="502"/>
                  </a:lnTo>
                  <a:lnTo>
                    <a:pt x="661" y="489"/>
                  </a:lnTo>
                  <a:lnTo>
                    <a:pt x="667" y="474"/>
                  </a:lnTo>
                  <a:lnTo>
                    <a:pt x="673" y="459"/>
                  </a:lnTo>
                  <a:lnTo>
                    <a:pt x="678" y="444"/>
                  </a:lnTo>
                  <a:lnTo>
                    <a:pt x="681" y="428"/>
                  </a:lnTo>
                  <a:lnTo>
                    <a:pt x="685" y="412"/>
                  </a:lnTo>
                  <a:lnTo>
                    <a:pt x="687" y="396"/>
                  </a:lnTo>
                  <a:lnTo>
                    <a:pt x="690" y="380"/>
                  </a:lnTo>
                  <a:lnTo>
                    <a:pt x="691" y="363"/>
                  </a:lnTo>
                  <a:lnTo>
                    <a:pt x="691" y="346"/>
                  </a:lnTo>
                  <a:lnTo>
                    <a:pt x="691" y="331"/>
                  </a:lnTo>
                  <a:lnTo>
                    <a:pt x="690" y="317"/>
                  </a:lnTo>
                  <a:lnTo>
                    <a:pt x="689" y="303"/>
                  </a:lnTo>
                  <a:lnTo>
                    <a:pt x="686" y="288"/>
                  </a:lnTo>
                  <a:lnTo>
                    <a:pt x="680" y="260"/>
                  </a:lnTo>
                  <a:lnTo>
                    <a:pt x="672" y="233"/>
                  </a:lnTo>
                  <a:lnTo>
                    <a:pt x="662" y="207"/>
                  </a:lnTo>
                  <a:lnTo>
                    <a:pt x="650" y="182"/>
                  </a:lnTo>
                  <a:lnTo>
                    <a:pt x="635" y="158"/>
                  </a:lnTo>
                  <a:lnTo>
                    <a:pt x="619" y="136"/>
                  </a:lnTo>
                  <a:lnTo>
                    <a:pt x="619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2285"/>
            <p:cNvSpPr>
              <a:spLocks/>
            </p:cNvSpPr>
            <p:nvPr/>
          </p:nvSpPr>
          <p:spPr bwMode="auto">
            <a:xfrm>
              <a:off x="9929813" y="3222625"/>
              <a:ext cx="123825" cy="125413"/>
            </a:xfrm>
            <a:custGeom>
              <a:avLst/>
              <a:gdLst>
                <a:gd name="T0" fmla="*/ 286 w 391"/>
                <a:gd name="T1" fmla="*/ 24 h 392"/>
                <a:gd name="T2" fmla="*/ 263 w 391"/>
                <a:gd name="T3" fmla="*/ 13 h 392"/>
                <a:gd name="T4" fmla="*/ 236 w 391"/>
                <a:gd name="T5" fmla="*/ 5 h 392"/>
                <a:gd name="T6" fmla="*/ 209 w 391"/>
                <a:gd name="T7" fmla="*/ 2 h 392"/>
                <a:gd name="T8" fmla="*/ 175 w 391"/>
                <a:gd name="T9" fmla="*/ 2 h 392"/>
                <a:gd name="T10" fmla="*/ 137 w 391"/>
                <a:gd name="T11" fmla="*/ 10 h 392"/>
                <a:gd name="T12" fmla="*/ 103 w 391"/>
                <a:gd name="T13" fmla="*/ 25 h 392"/>
                <a:gd name="T14" fmla="*/ 71 w 391"/>
                <a:gd name="T15" fmla="*/ 46 h 392"/>
                <a:gd name="T16" fmla="*/ 44 w 391"/>
                <a:gd name="T17" fmla="*/ 72 h 392"/>
                <a:gd name="T18" fmla="*/ 23 w 391"/>
                <a:gd name="T19" fmla="*/ 103 h 392"/>
                <a:gd name="T20" fmla="*/ 9 w 391"/>
                <a:gd name="T21" fmla="*/ 138 h 392"/>
                <a:gd name="T22" fmla="*/ 1 w 391"/>
                <a:gd name="T23" fmla="*/ 176 h 392"/>
                <a:gd name="T24" fmla="*/ 1 w 391"/>
                <a:gd name="T25" fmla="*/ 217 h 392"/>
                <a:gd name="T26" fmla="*/ 9 w 391"/>
                <a:gd name="T27" fmla="*/ 254 h 392"/>
                <a:gd name="T28" fmla="*/ 23 w 391"/>
                <a:gd name="T29" fmla="*/ 290 h 392"/>
                <a:gd name="T30" fmla="*/ 44 w 391"/>
                <a:gd name="T31" fmla="*/ 320 h 392"/>
                <a:gd name="T32" fmla="*/ 71 w 391"/>
                <a:gd name="T33" fmla="*/ 347 h 392"/>
                <a:gd name="T34" fmla="*/ 103 w 391"/>
                <a:gd name="T35" fmla="*/ 368 h 392"/>
                <a:gd name="T36" fmla="*/ 137 w 391"/>
                <a:gd name="T37" fmla="*/ 383 h 392"/>
                <a:gd name="T38" fmla="*/ 175 w 391"/>
                <a:gd name="T39" fmla="*/ 391 h 392"/>
                <a:gd name="T40" fmla="*/ 215 w 391"/>
                <a:gd name="T41" fmla="*/ 391 h 392"/>
                <a:gd name="T42" fmla="*/ 253 w 391"/>
                <a:gd name="T43" fmla="*/ 383 h 392"/>
                <a:gd name="T44" fmla="*/ 288 w 391"/>
                <a:gd name="T45" fmla="*/ 368 h 392"/>
                <a:gd name="T46" fmla="*/ 320 w 391"/>
                <a:gd name="T47" fmla="*/ 347 h 392"/>
                <a:gd name="T48" fmla="*/ 346 w 391"/>
                <a:gd name="T49" fmla="*/ 320 h 392"/>
                <a:gd name="T50" fmla="*/ 368 w 391"/>
                <a:gd name="T51" fmla="*/ 290 h 392"/>
                <a:gd name="T52" fmla="*/ 382 w 391"/>
                <a:gd name="T53" fmla="*/ 254 h 392"/>
                <a:gd name="T54" fmla="*/ 390 w 391"/>
                <a:gd name="T55" fmla="*/ 217 h 392"/>
                <a:gd name="T56" fmla="*/ 390 w 391"/>
                <a:gd name="T57" fmla="*/ 182 h 392"/>
                <a:gd name="T58" fmla="*/ 386 w 391"/>
                <a:gd name="T59" fmla="*/ 156 h 392"/>
                <a:gd name="T60" fmla="*/ 379 w 391"/>
                <a:gd name="T61" fmla="*/ 130 h 392"/>
                <a:gd name="T62" fmla="*/ 368 w 391"/>
                <a:gd name="T63" fmla="*/ 105 h 392"/>
                <a:gd name="T64" fmla="*/ 294 w 391"/>
                <a:gd name="T65" fmla="*/ 160 h 392"/>
                <a:gd name="T66" fmla="*/ 299 w 391"/>
                <a:gd name="T67" fmla="*/ 179 h 392"/>
                <a:gd name="T68" fmla="*/ 300 w 391"/>
                <a:gd name="T69" fmla="*/ 196 h 392"/>
                <a:gd name="T70" fmla="*/ 298 w 391"/>
                <a:gd name="T71" fmla="*/ 218 h 392"/>
                <a:gd name="T72" fmla="*/ 292 w 391"/>
                <a:gd name="T73" fmla="*/ 237 h 392"/>
                <a:gd name="T74" fmla="*/ 282 w 391"/>
                <a:gd name="T75" fmla="*/ 256 h 392"/>
                <a:gd name="T76" fmla="*/ 270 w 391"/>
                <a:gd name="T77" fmla="*/ 270 h 392"/>
                <a:gd name="T78" fmla="*/ 254 w 391"/>
                <a:gd name="T79" fmla="*/ 284 h 392"/>
                <a:gd name="T80" fmla="*/ 236 w 391"/>
                <a:gd name="T81" fmla="*/ 294 h 392"/>
                <a:gd name="T82" fmla="*/ 216 w 391"/>
                <a:gd name="T83" fmla="*/ 300 h 392"/>
                <a:gd name="T84" fmla="*/ 195 w 391"/>
                <a:gd name="T85" fmla="*/ 302 h 392"/>
                <a:gd name="T86" fmla="*/ 173 w 391"/>
                <a:gd name="T87" fmla="*/ 300 h 392"/>
                <a:gd name="T88" fmla="*/ 154 w 391"/>
                <a:gd name="T89" fmla="*/ 294 h 392"/>
                <a:gd name="T90" fmla="*/ 137 w 391"/>
                <a:gd name="T91" fmla="*/ 284 h 392"/>
                <a:gd name="T92" fmla="*/ 121 w 391"/>
                <a:gd name="T93" fmla="*/ 270 h 392"/>
                <a:gd name="T94" fmla="*/ 107 w 391"/>
                <a:gd name="T95" fmla="*/ 256 h 392"/>
                <a:gd name="T96" fmla="*/ 98 w 391"/>
                <a:gd name="T97" fmla="*/ 237 h 392"/>
                <a:gd name="T98" fmla="*/ 92 w 391"/>
                <a:gd name="T99" fmla="*/ 218 h 392"/>
                <a:gd name="T100" fmla="*/ 90 w 391"/>
                <a:gd name="T101" fmla="*/ 196 h 392"/>
                <a:gd name="T102" fmla="*/ 92 w 391"/>
                <a:gd name="T103" fmla="*/ 175 h 392"/>
                <a:gd name="T104" fmla="*/ 98 w 391"/>
                <a:gd name="T105" fmla="*/ 156 h 392"/>
                <a:gd name="T106" fmla="*/ 107 w 391"/>
                <a:gd name="T107" fmla="*/ 137 h 392"/>
                <a:gd name="T108" fmla="*/ 121 w 391"/>
                <a:gd name="T109" fmla="*/ 121 h 392"/>
                <a:gd name="T110" fmla="*/ 137 w 391"/>
                <a:gd name="T111" fmla="*/ 109 h 392"/>
                <a:gd name="T112" fmla="*/ 154 w 391"/>
                <a:gd name="T113" fmla="*/ 99 h 392"/>
                <a:gd name="T114" fmla="*/ 173 w 391"/>
                <a:gd name="T115" fmla="*/ 93 h 392"/>
                <a:gd name="T116" fmla="*/ 195 w 391"/>
                <a:gd name="T117" fmla="*/ 91 h 392"/>
                <a:gd name="T118" fmla="*/ 214 w 391"/>
                <a:gd name="T119" fmla="*/ 93 h 392"/>
                <a:gd name="T120" fmla="*/ 231 w 391"/>
                <a:gd name="T121" fmla="*/ 9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92">
                  <a:moveTo>
                    <a:pt x="298" y="30"/>
                  </a:moveTo>
                  <a:lnTo>
                    <a:pt x="286" y="24"/>
                  </a:lnTo>
                  <a:lnTo>
                    <a:pt x="275" y="18"/>
                  </a:lnTo>
                  <a:lnTo>
                    <a:pt x="263" y="13"/>
                  </a:lnTo>
                  <a:lnTo>
                    <a:pt x="249" y="9"/>
                  </a:lnTo>
                  <a:lnTo>
                    <a:pt x="236" y="5"/>
                  </a:lnTo>
                  <a:lnTo>
                    <a:pt x="222" y="3"/>
                  </a:lnTo>
                  <a:lnTo>
                    <a:pt x="209" y="2"/>
                  </a:lnTo>
                  <a:lnTo>
                    <a:pt x="195" y="0"/>
                  </a:lnTo>
                  <a:lnTo>
                    <a:pt x="175" y="2"/>
                  </a:lnTo>
                  <a:lnTo>
                    <a:pt x="156" y="5"/>
                  </a:lnTo>
                  <a:lnTo>
                    <a:pt x="137" y="10"/>
                  </a:lnTo>
                  <a:lnTo>
                    <a:pt x="120" y="16"/>
                  </a:lnTo>
                  <a:lnTo>
                    <a:pt x="103" y="25"/>
                  </a:lnTo>
                  <a:lnTo>
                    <a:pt x="85" y="35"/>
                  </a:lnTo>
                  <a:lnTo>
                    <a:pt x="71" y="46"/>
                  </a:lnTo>
                  <a:lnTo>
                    <a:pt x="57" y="58"/>
                  </a:lnTo>
                  <a:lnTo>
                    <a:pt x="44" y="72"/>
                  </a:lnTo>
                  <a:lnTo>
                    <a:pt x="33" y="87"/>
                  </a:lnTo>
                  <a:lnTo>
                    <a:pt x="23" y="103"/>
                  </a:lnTo>
                  <a:lnTo>
                    <a:pt x="15" y="120"/>
                  </a:lnTo>
                  <a:lnTo>
                    <a:pt x="9" y="138"/>
                  </a:lnTo>
                  <a:lnTo>
                    <a:pt x="4" y="157"/>
                  </a:lnTo>
                  <a:lnTo>
                    <a:pt x="1" y="176"/>
                  </a:lnTo>
                  <a:lnTo>
                    <a:pt x="0" y="196"/>
                  </a:lnTo>
                  <a:lnTo>
                    <a:pt x="1" y="217"/>
                  </a:lnTo>
                  <a:lnTo>
                    <a:pt x="4" y="236"/>
                  </a:lnTo>
                  <a:lnTo>
                    <a:pt x="9" y="254"/>
                  </a:lnTo>
                  <a:lnTo>
                    <a:pt x="15" y="273"/>
                  </a:lnTo>
                  <a:lnTo>
                    <a:pt x="23" y="290"/>
                  </a:lnTo>
                  <a:lnTo>
                    <a:pt x="33" y="306"/>
                  </a:lnTo>
                  <a:lnTo>
                    <a:pt x="44" y="320"/>
                  </a:lnTo>
                  <a:lnTo>
                    <a:pt x="57" y="335"/>
                  </a:lnTo>
                  <a:lnTo>
                    <a:pt x="71" y="347"/>
                  </a:lnTo>
                  <a:lnTo>
                    <a:pt x="85" y="358"/>
                  </a:lnTo>
                  <a:lnTo>
                    <a:pt x="103" y="368"/>
                  </a:lnTo>
                  <a:lnTo>
                    <a:pt x="120" y="377"/>
                  </a:lnTo>
                  <a:lnTo>
                    <a:pt x="137" y="383"/>
                  </a:lnTo>
                  <a:lnTo>
                    <a:pt x="156" y="388"/>
                  </a:lnTo>
                  <a:lnTo>
                    <a:pt x="175" y="391"/>
                  </a:lnTo>
                  <a:lnTo>
                    <a:pt x="195" y="392"/>
                  </a:lnTo>
                  <a:lnTo>
                    <a:pt x="215" y="391"/>
                  </a:lnTo>
                  <a:lnTo>
                    <a:pt x="234" y="388"/>
                  </a:lnTo>
                  <a:lnTo>
                    <a:pt x="253" y="383"/>
                  </a:lnTo>
                  <a:lnTo>
                    <a:pt x="271" y="377"/>
                  </a:lnTo>
                  <a:lnTo>
                    <a:pt x="288" y="368"/>
                  </a:lnTo>
                  <a:lnTo>
                    <a:pt x="304" y="358"/>
                  </a:lnTo>
                  <a:lnTo>
                    <a:pt x="320" y="347"/>
                  </a:lnTo>
                  <a:lnTo>
                    <a:pt x="333" y="335"/>
                  </a:lnTo>
                  <a:lnTo>
                    <a:pt x="346" y="320"/>
                  </a:lnTo>
                  <a:lnTo>
                    <a:pt x="358" y="306"/>
                  </a:lnTo>
                  <a:lnTo>
                    <a:pt x="368" y="290"/>
                  </a:lnTo>
                  <a:lnTo>
                    <a:pt x="375" y="273"/>
                  </a:lnTo>
                  <a:lnTo>
                    <a:pt x="382" y="254"/>
                  </a:lnTo>
                  <a:lnTo>
                    <a:pt x="387" y="236"/>
                  </a:lnTo>
                  <a:lnTo>
                    <a:pt x="390" y="217"/>
                  </a:lnTo>
                  <a:lnTo>
                    <a:pt x="391" y="196"/>
                  </a:lnTo>
                  <a:lnTo>
                    <a:pt x="390" y="182"/>
                  </a:lnTo>
                  <a:lnTo>
                    <a:pt x="388" y="169"/>
                  </a:lnTo>
                  <a:lnTo>
                    <a:pt x="386" y="156"/>
                  </a:lnTo>
                  <a:lnTo>
                    <a:pt x="383" y="142"/>
                  </a:lnTo>
                  <a:lnTo>
                    <a:pt x="379" y="130"/>
                  </a:lnTo>
                  <a:lnTo>
                    <a:pt x="374" y="118"/>
                  </a:lnTo>
                  <a:lnTo>
                    <a:pt x="368" y="105"/>
                  </a:lnTo>
                  <a:lnTo>
                    <a:pt x="361" y="94"/>
                  </a:lnTo>
                  <a:lnTo>
                    <a:pt x="294" y="160"/>
                  </a:lnTo>
                  <a:lnTo>
                    <a:pt x="297" y="169"/>
                  </a:lnTo>
                  <a:lnTo>
                    <a:pt x="299" y="179"/>
                  </a:lnTo>
                  <a:lnTo>
                    <a:pt x="300" y="187"/>
                  </a:lnTo>
                  <a:lnTo>
                    <a:pt x="300" y="196"/>
                  </a:lnTo>
                  <a:lnTo>
                    <a:pt x="300" y="207"/>
                  </a:lnTo>
                  <a:lnTo>
                    <a:pt x="298" y="218"/>
                  </a:lnTo>
                  <a:lnTo>
                    <a:pt x="296" y="228"/>
                  </a:lnTo>
                  <a:lnTo>
                    <a:pt x="292" y="237"/>
                  </a:lnTo>
                  <a:lnTo>
                    <a:pt x="288" y="246"/>
                  </a:lnTo>
                  <a:lnTo>
                    <a:pt x="282" y="256"/>
                  </a:lnTo>
                  <a:lnTo>
                    <a:pt x="276" y="263"/>
                  </a:lnTo>
                  <a:lnTo>
                    <a:pt x="270" y="270"/>
                  </a:lnTo>
                  <a:lnTo>
                    <a:pt x="263" y="278"/>
                  </a:lnTo>
                  <a:lnTo>
                    <a:pt x="254" y="284"/>
                  </a:lnTo>
                  <a:lnTo>
                    <a:pt x="245" y="289"/>
                  </a:lnTo>
                  <a:lnTo>
                    <a:pt x="236" y="294"/>
                  </a:lnTo>
                  <a:lnTo>
                    <a:pt x="226" y="297"/>
                  </a:lnTo>
                  <a:lnTo>
                    <a:pt x="216" y="300"/>
                  </a:lnTo>
                  <a:lnTo>
                    <a:pt x="206" y="301"/>
                  </a:lnTo>
                  <a:lnTo>
                    <a:pt x="195" y="302"/>
                  </a:lnTo>
                  <a:lnTo>
                    <a:pt x="184" y="301"/>
                  </a:lnTo>
                  <a:lnTo>
                    <a:pt x="173" y="300"/>
                  </a:lnTo>
                  <a:lnTo>
                    <a:pt x="164" y="297"/>
                  </a:lnTo>
                  <a:lnTo>
                    <a:pt x="154" y="294"/>
                  </a:lnTo>
                  <a:lnTo>
                    <a:pt x="145" y="289"/>
                  </a:lnTo>
                  <a:lnTo>
                    <a:pt x="137" y="284"/>
                  </a:lnTo>
                  <a:lnTo>
                    <a:pt x="128" y="278"/>
                  </a:lnTo>
                  <a:lnTo>
                    <a:pt x="121" y="270"/>
                  </a:lnTo>
                  <a:lnTo>
                    <a:pt x="114" y="263"/>
                  </a:lnTo>
                  <a:lnTo>
                    <a:pt x="107" y="256"/>
                  </a:lnTo>
                  <a:lnTo>
                    <a:pt x="103" y="246"/>
                  </a:lnTo>
                  <a:lnTo>
                    <a:pt x="98" y="237"/>
                  </a:lnTo>
                  <a:lnTo>
                    <a:pt x="94" y="228"/>
                  </a:lnTo>
                  <a:lnTo>
                    <a:pt x="92" y="218"/>
                  </a:lnTo>
                  <a:lnTo>
                    <a:pt x="90" y="207"/>
                  </a:lnTo>
                  <a:lnTo>
                    <a:pt x="90" y="196"/>
                  </a:lnTo>
                  <a:lnTo>
                    <a:pt x="90" y="186"/>
                  </a:lnTo>
                  <a:lnTo>
                    <a:pt x="92" y="175"/>
                  </a:lnTo>
                  <a:lnTo>
                    <a:pt x="94" y="165"/>
                  </a:lnTo>
                  <a:lnTo>
                    <a:pt x="98" y="156"/>
                  </a:lnTo>
                  <a:lnTo>
                    <a:pt x="103" y="146"/>
                  </a:lnTo>
                  <a:lnTo>
                    <a:pt x="107" y="137"/>
                  </a:lnTo>
                  <a:lnTo>
                    <a:pt x="114" y="130"/>
                  </a:lnTo>
                  <a:lnTo>
                    <a:pt x="121" y="121"/>
                  </a:lnTo>
                  <a:lnTo>
                    <a:pt x="128" y="115"/>
                  </a:lnTo>
                  <a:lnTo>
                    <a:pt x="137" y="109"/>
                  </a:lnTo>
                  <a:lnTo>
                    <a:pt x="145" y="104"/>
                  </a:lnTo>
                  <a:lnTo>
                    <a:pt x="154" y="99"/>
                  </a:lnTo>
                  <a:lnTo>
                    <a:pt x="164" y="96"/>
                  </a:lnTo>
                  <a:lnTo>
                    <a:pt x="173" y="93"/>
                  </a:lnTo>
                  <a:lnTo>
                    <a:pt x="184" y="92"/>
                  </a:lnTo>
                  <a:lnTo>
                    <a:pt x="195" y="91"/>
                  </a:lnTo>
                  <a:lnTo>
                    <a:pt x="204" y="92"/>
                  </a:lnTo>
                  <a:lnTo>
                    <a:pt x="214" y="93"/>
                  </a:lnTo>
                  <a:lnTo>
                    <a:pt x="222" y="94"/>
                  </a:lnTo>
                  <a:lnTo>
                    <a:pt x="231" y="97"/>
                  </a:lnTo>
                  <a:lnTo>
                    <a:pt x="29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2286"/>
            <p:cNvSpPr>
              <a:spLocks/>
            </p:cNvSpPr>
            <p:nvPr/>
          </p:nvSpPr>
          <p:spPr bwMode="auto">
            <a:xfrm>
              <a:off x="9967913" y="3260725"/>
              <a:ext cx="47625" cy="49213"/>
            </a:xfrm>
            <a:custGeom>
              <a:avLst/>
              <a:gdLst>
                <a:gd name="T0" fmla="*/ 80 w 150"/>
                <a:gd name="T1" fmla="*/ 0 h 151"/>
                <a:gd name="T2" fmla="*/ 68 w 150"/>
                <a:gd name="T3" fmla="*/ 0 h 151"/>
                <a:gd name="T4" fmla="*/ 52 w 150"/>
                <a:gd name="T5" fmla="*/ 4 h 151"/>
                <a:gd name="T6" fmla="*/ 39 w 150"/>
                <a:gd name="T7" fmla="*/ 9 h 151"/>
                <a:gd name="T8" fmla="*/ 28 w 150"/>
                <a:gd name="T9" fmla="*/ 17 h 151"/>
                <a:gd name="T10" fmla="*/ 17 w 150"/>
                <a:gd name="T11" fmla="*/ 27 h 151"/>
                <a:gd name="T12" fmla="*/ 9 w 150"/>
                <a:gd name="T13" fmla="*/ 39 h 151"/>
                <a:gd name="T14" fmla="*/ 3 w 150"/>
                <a:gd name="T15" fmla="*/ 53 h 151"/>
                <a:gd name="T16" fmla="*/ 1 w 150"/>
                <a:gd name="T17" fmla="*/ 68 h 151"/>
                <a:gd name="T18" fmla="*/ 1 w 150"/>
                <a:gd name="T19" fmla="*/ 83 h 151"/>
                <a:gd name="T20" fmla="*/ 3 w 150"/>
                <a:gd name="T21" fmla="*/ 98 h 151"/>
                <a:gd name="T22" fmla="*/ 9 w 150"/>
                <a:gd name="T23" fmla="*/ 111 h 151"/>
                <a:gd name="T24" fmla="*/ 17 w 150"/>
                <a:gd name="T25" fmla="*/ 124 h 151"/>
                <a:gd name="T26" fmla="*/ 28 w 150"/>
                <a:gd name="T27" fmla="*/ 133 h 151"/>
                <a:gd name="T28" fmla="*/ 39 w 150"/>
                <a:gd name="T29" fmla="*/ 142 h 151"/>
                <a:gd name="T30" fmla="*/ 52 w 150"/>
                <a:gd name="T31" fmla="*/ 147 h 151"/>
                <a:gd name="T32" fmla="*/ 68 w 150"/>
                <a:gd name="T33" fmla="*/ 151 h 151"/>
                <a:gd name="T34" fmla="*/ 83 w 150"/>
                <a:gd name="T35" fmla="*/ 151 h 151"/>
                <a:gd name="T36" fmla="*/ 97 w 150"/>
                <a:gd name="T37" fmla="*/ 147 h 151"/>
                <a:gd name="T38" fmla="*/ 111 w 150"/>
                <a:gd name="T39" fmla="*/ 142 h 151"/>
                <a:gd name="T40" fmla="*/ 123 w 150"/>
                <a:gd name="T41" fmla="*/ 133 h 151"/>
                <a:gd name="T42" fmla="*/ 133 w 150"/>
                <a:gd name="T43" fmla="*/ 124 h 151"/>
                <a:gd name="T44" fmla="*/ 141 w 150"/>
                <a:gd name="T45" fmla="*/ 111 h 151"/>
                <a:gd name="T46" fmla="*/ 147 w 150"/>
                <a:gd name="T47" fmla="*/ 98 h 151"/>
                <a:gd name="T48" fmla="*/ 150 w 150"/>
                <a:gd name="T49" fmla="*/ 83 h 151"/>
                <a:gd name="T50" fmla="*/ 150 w 150"/>
                <a:gd name="T51" fmla="*/ 70 h 151"/>
                <a:gd name="T52" fmla="*/ 107 w 150"/>
                <a:gd name="T53" fmla="*/ 108 h 151"/>
                <a:gd name="T54" fmla="*/ 92 w 150"/>
                <a:gd name="T55" fmla="*/ 118 h 151"/>
                <a:gd name="T56" fmla="*/ 75 w 150"/>
                <a:gd name="T57" fmla="*/ 120 h 151"/>
                <a:gd name="T58" fmla="*/ 58 w 150"/>
                <a:gd name="T59" fmla="*/ 118 h 151"/>
                <a:gd name="T60" fmla="*/ 44 w 150"/>
                <a:gd name="T61" fmla="*/ 108 h 151"/>
                <a:gd name="T62" fmla="*/ 34 w 150"/>
                <a:gd name="T63" fmla="*/ 93 h 151"/>
                <a:gd name="T64" fmla="*/ 30 w 150"/>
                <a:gd name="T65" fmla="*/ 75 h 151"/>
                <a:gd name="T66" fmla="*/ 34 w 150"/>
                <a:gd name="T67" fmla="*/ 58 h 151"/>
                <a:gd name="T68" fmla="*/ 44 w 150"/>
                <a:gd name="T69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151">
                  <a:moveTo>
                    <a:pt x="85" y="2"/>
                  </a:moveTo>
                  <a:lnTo>
                    <a:pt x="80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1" y="91"/>
                  </a:lnTo>
                  <a:lnTo>
                    <a:pt x="3" y="98"/>
                  </a:lnTo>
                  <a:lnTo>
                    <a:pt x="6" y="104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4"/>
                  </a:lnTo>
                  <a:lnTo>
                    <a:pt x="22" y="129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39" y="142"/>
                  </a:lnTo>
                  <a:lnTo>
                    <a:pt x="46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8" y="151"/>
                  </a:lnTo>
                  <a:lnTo>
                    <a:pt x="75" y="151"/>
                  </a:lnTo>
                  <a:lnTo>
                    <a:pt x="83" y="151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5" y="144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9"/>
                  </a:lnTo>
                  <a:lnTo>
                    <a:pt x="133" y="124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5" y="104"/>
                  </a:lnTo>
                  <a:lnTo>
                    <a:pt x="147" y="98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70"/>
                  </a:lnTo>
                  <a:lnTo>
                    <a:pt x="150" y="65"/>
                  </a:lnTo>
                  <a:lnTo>
                    <a:pt x="107" y="108"/>
                  </a:lnTo>
                  <a:lnTo>
                    <a:pt x="100" y="113"/>
                  </a:lnTo>
                  <a:lnTo>
                    <a:pt x="92" y="118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7" y="120"/>
                  </a:lnTo>
                  <a:lnTo>
                    <a:pt x="58" y="118"/>
                  </a:lnTo>
                  <a:lnTo>
                    <a:pt x="50" y="113"/>
                  </a:lnTo>
                  <a:lnTo>
                    <a:pt x="44" y="108"/>
                  </a:lnTo>
                  <a:lnTo>
                    <a:pt x="38" y="100"/>
                  </a:lnTo>
                  <a:lnTo>
                    <a:pt x="34" y="93"/>
                  </a:lnTo>
                  <a:lnTo>
                    <a:pt x="31" y="85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4" y="43"/>
                  </a:lnTo>
                  <a:lnTo>
                    <a:pt x="8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2287"/>
            <p:cNvSpPr>
              <a:spLocks/>
            </p:cNvSpPr>
            <p:nvPr/>
          </p:nvSpPr>
          <p:spPr bwMode="auto">
            <a:xfrm>
              <a:off x="9986963" y="3108325"/>
              <a:ext cx="180975" cy="182563"/>
            </a:xfrm>
            <a:custGeom>
              <a:avLst/>
              <a:gdLst>
                <a:gd name="T0" fmla="*/ 566 w 571"/>
                <a:gd name="T1" fmla="*/ 94 h 572"/>
                <a:gd name="T2" fmla="*/ 560 w 571"/>
                <a:gd name="T3" fmla="*/ 91 h 572"/>
                <a:gd name="T4" fmla="*/ 509 w 571"/>
                <a:gd name="T5" fmla="*/ 91 h 572"/>
                <a:gd name="T6" fmla="*/ 482 w 571"/>
                <a:gd name="T7" fmla="*/ 62 h 572"/>
                <a:gd name="T8" fmla="*/ 481 w 571"/>
                <a:gd name="T9" fmla="*/ 11 h 572"/>
                <a:gd name="T10" fmla="*/ 478 w 571"/>
                <a:gd name="T11" fmla="*/ 5 h 572"/>
                <a:gd name="T12" fmla="*/ 472 w 571"/>
                <a:gd name="T13" fmla="*/ 1 h 572"/>
                <a:gd name="T14" fmla="*/ 465 w 571"/>
                <a:gd name="T15" fmla="*/ 0 h 572"/>
                <a:gd name="T16" fmla="*/ 455 w 571"/>
                <a:gd name="T17" fmla="*/ 3 h 572"/>
                <a:gd name="T18" fmla="*/ 417 w 571"/>
                <a:gd name="T19" fmla="*/ 17 h 572"/>
                <a:gd name="T20" fmla="*/ 392 w 571"/>
                <a:gd name="T21" fmla="*/ 29 h 572"/>
                <a:gd name="T22" fmla="*/ 390 w 571"/>
                <a:gd name="T23" fmla="*/ 171 h 572"/>
                <a:gd name="T24" fmla="*/ 382 w 571"/>
                <a:gd name="T25" fmla="*/ 180 h 572"/>
                <a:gd name="T26" fmla="*/ 371 w 571"/>
                <a:gd name="T27" fmla="*/ 180 h 572"/>
                <a:gd name="T28" fmla="*/ 362 w 571"/>
                <a:gd name="T29" fmla="*/ 171 h 572"/>
                <a:gd name="T30" fmla="*/ 361 w 571"/>
                <a:gd name="T31" fmla="*/ 45 h 572"/>
                <a:gd name="T32" fmla="*/ 324 w 571"/>
                <a:gd name="T33" fmla="*/ 70 h 572"/>
                <a:gd name="T34" fmla="*/ 290 w 571"/>
                <a:gd name="T35" fmla="*/ 97 h 572"/>
                <a:gd name="T36" fmla="*/ 263 w 571"/>
                <a:gd name="T37" fmla="*/ 130 h 572"/>
                <a:gd name="T38" fmla="*/ 254 w 571"/>
                <a:gd name="T39" fmla="*/ 147 h 572"/>
                <a:gd name="T40" fmla="*/ 247 w 571"/>
                <a:gd name="T41" fmla="*/ 165 h 572"/>
                <a:gd name="T42" fmla="*/ 245 w 571"/>
                <a:gd name="T43" fmla="*/ 186 h 572"/>
                <a:gd name="T44" fmla="*/ 246 w 571"/>
                <a:gd name="T45" fmla="*/ 205 h 572"/>
                <a:gd name="T46" fmla="*/ 252 w 571"/>
                <a:gd name="T47" fmla="*/ 226 h 572"/>
                <a:gd name="T48" fmla="*/ 262 w 571"/>
                <a:gd name="T49" fmla="*/ 246 h 572"/>
                <a:gd name="T50" fmla="*/ 280 w 571"/>
                <a:gd name="T51" fmla="*/ 270 h 572"/>
                <a:gd name="T52" fmla="*/ 249 w 571"/>
                <a:gd name="T53" fmla="*/ 302 h 572"/>
                <a:gd name="T54" fmla="*/ 142 w 571"/>
                <a:gd name="T55" fmla="*/ 408 h 572"/>
                <a:gd name="T56" fmla="*/ 57 w 571"/>
                <a:gd name="T57" fmla="*/ 494 h 572"/>
                <a:gd name="T58" fmla="*/ 4 w 571"/>
                <a:gd name="T59" fmla="*/ 546 h 572"/>
                <a:gd name="T60" fmla="*/ 1 w 571"/>
                <a:gd name="T61" fmla="*/ 551 h 572"/>
                <a:gd name="T62" fmla="*/ 0 w 571"/>
                <a:gd name="T63" fmla="*/ 556 h 572"/>
                <a:gd name="T64" fmla="*/ 1 w 571"/>
                <a:gd name="T65" fmla="*/ 562 h 572"/>
                <a:gd name="T66" fmla="*/ 4 w 571"/>
                <a:gd name="T67" fmla="*/ 567 h 572"/>
                <a:gd name="T68" fmla="*/ 4 w 571"/>
                <a:gd name="T69" fmla="*/ 567 h 572"/>
                <a:gd name="T70" fmla="*/ 15 w 571"/>
                <a:gd name="T71" fmla="*/ 572 h 572"/>
                <a:gd name="T72" fmla="*/ 25 w 571"/>
                <a:gd name="T73" fmla="*/ 567 h 572"/>
                <a:gd name="T74" fmla="*/ 26 w 571"/>
                <a:gd name="T75" fmla="*/ 567 h 572"/>
                <a:gd name="T76" fmla="*/ 78 w 571"/>
                <a:gd name="T77" fmla="*/ 514 h 572"/>
                <a:gd name="T78" fmla="*/ 163 w 571"/>
                <a:gd name="T79" fmla="*/ 429 h 572"/>
                <a:gd name="T80" fmla="*/ 271 w 571"/>
                <a:gd name="T81" fmla="*/ 323 h 572"/>
                <a:gd name="T82" fmla="*/ 313 w 571"/>
                <a:gd name="T83" fmla="*/ 302 h 572"/>
                <a:gd name="T84" fmla="*/ 340 w 571"/>
                <a:gd name="T85" fmla="*/ 316 h 572"/>
                <a:gd name="T86" fmla="*/ 368 w 571"/>
                <a:gd name="T87" fmla="*/ 325 h 572"/>
                <a:gd name="T88" fmla="*/ 394 w 571"/>
                <a:gd name="T89" fmla="*/ 326 h 572"/>
                <a:gd name="T90" fmla="*/ 415 w 571"/>
                <a:gd name="T91" fmla="*/ 321 h 572"/>
                <a:gd name="T92" fmla="*/ 434 w 571"/>
                <a:gd name="T93" fmla="*/ 313 h 572"/>
                <a:gd name="T94" fmla="*/ 451 w 571"/>
                <a:gd name="T95" fmla="*/ 301 h 572"/>
                <a:gd name="T96" fmla="*/ 477 w 571"/>
                <a:gd name="T97" fmla="*/ 279 h 572"/>
                <a:gd name="T98" fmla="*/ 506 w 571"/>
                <a:gd name="T99" fmla="*/ 241 h 572"/>
                <a:gd name="T100" fmla="*/ 531 w 571"/>
                <a:gd name="T101" fmla="*/ 202 h 572"/>
                <a:gd name="T102" fmla="*/ 549 w 571"/>
                <a:gd name="T103" fmla="*/ 164 h 572"/>
                <a:gd name="T104" fmla="*/ 566 w 571"/>
                <a:gd name="T105" fmla="*/ 121 h 572"/>
                <a:gd name="T106" fmla="*/ 571 w 571"/>
                <a:gd name="T107" fmla="*/ 106 h 572"/>
                <a:gd name="T108" fmla="*/ 571 w 571"/>
                <a:gd name="T109" fmla="*/ 99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71" h="572">
                  <a:moveTo>
                    <a:pt x="569" y="97"/>
                  </a:moveTo>
                  <a:lnTo>
                    <a:pt x="566" y="94"/>
                  </a:lnTo>
                  <a:lnTo>
                    <a:pt x="564" y="92"/>
                  </a:lnTo>
                  <a:lnTo>
                    <a:pt x="560" y="91"/>
                  </a:lnTo>
                  <a:lnTo>
                    <a:pt x="556" y="91"/>
                  </a:lnTo>
                  <a:lnTo>
                    <a:pt x="509" y="91"/>
                  </a:lnTo>
                  <a:lnTo>
                    <a:pt x="482" y="91"/>
                  </a:lnTo>
                  <a:lnTo>
                    <a:pt x="482" y="62"/>
                  </a:lnTo>
                  <a:lnTo>
                    <a:pt x="482" y="15"/>
                  </a:lnTo>
                  <a:lnTo>
                    <a:pt x="481" y="11"/>
                  </a:lnTo>
                  <a:lnTo>
                    <a:pt x="480" y="8"/>
                  </a:lnTo>
                  <a:lnTo>
                    <a:pt x="478" y="5"/>
                  </a:lnTo>
                  <a:lnTo>
                    <a:pt x="476" y="3"/>
                  </a:lnTo>
                  <a:lnTo>
                    <a:pt x="472" y="1"/>
                  </a:lnTo>
                  <a:lnTo>
                    <a:pt x="469" y="0"/>
                  </a:lnTo>
                  <a:lnTo>
                    <a:pt x="465" y="0"/>
                  </a:lnTo>
                  <a:lnTo>
                    <a:pt x="461" y="0"/>
                  </a:lnTo>
                  <a:lnTo>
                    <a:pt x="455" y="3"/>
                  </a:lnTo>
                  <a:lnTo>
                    <a:pt x="439" y="9"/>
                  </a:lnTo>
                  <a:lnTo>
                    <a:pt x="417" y="17"/>
                  </a:lnTo>
                  <a:lnTo>
                    <a:pt x="392" y="29"/>
                  </a:lnTo>
                  <a:lnTo>
                    <a:pt x="392" y="29"/>
                  </a:lnTo>
                  <a:lnTo>
                    <a:pt x="392" y="165"/>
                  </a:lnTo>
                  <a:lnTo>
                    <a:pt x="390" y="171"/>
                  </a:lnTo>
                  <a:lnTo>
                    <a:pt x="387" y="176"/>
                  </a:lnTo>
                  <a:lnTo>
                    <a:pt x="382" y="180"/>
                  </a:lnTo>
                  <a:lnTo>
                    <a:pt x="376" y="181"/>
                  </a:lnTo>
                  <a:lnTo>
                    <a:pt x="371" y="180"/>
                  </a:lnTo>
                  <a:lnTo>
                    <a:pt x="366" y="176"/>
                  </a:lnTo>
                  <a:lnTo>
                    <a:pt x="362" y="171"/>
                  </a:lnTo>
                  <a:lnTo>
                    <a:pt x="361" y="165"/>
                  </a:lnTo>
                  <a:lnTo>
                    <a:pt x="361" y="45"/>
                  </a:lnTo>
                  <a:lnTo>
                    <a:pt x="343" y="56"/>
                  </a:lnTo>
                  <a:lnTo>
                    <a:pt x="324" y="70"/>
                  </a:lnTo>
                  <a:lnTo>
                    <a:pt x="306" y="83"/>
                  </a:lnTo>
                  <a:lnTo>
                    <a:pt x="290" y="97"/>
                  </a:lnTo>
                  <a:lnTo>
                    <a:pt x="276" y="113"/>
                  </a:lnTo>
                  <a:lnTo>
                    <a:pt x="263" y="130"/>
                  </a:lnTo>
                  <a:lnTo>
                    <a:pt x="258" y="138"/>
                  </a:lnTo>
                  <a:lnTo>
                    <a:pt x="254" y="147"/>
                  </a:lnTo>
                  <a:lnTo>
                    <a:pt x="250" y="156"/>
                  </a:lnTo>
                  <a:lnTo>
                    <a:pt x="247" y="165"/>
                  </a:lnTo>
                  <a:lnTo>
                    <a:pt x="246" y="176"/>
                  </a:lnTo>
                  <a:lnTo>
                    <a:pt x="245" y="186"/>
                  </a:lnTo>
                  <a:lnTo>
                    <a:pt x="245" y="196"/>
                  </a:lnTo>
                  <a:lnTo>
                    <a:pt x="246" y="205"/>
                  </a:lnTo>
                  <a:lnTo>
                    <a:pt x="249" y="216"/>
                  </a:lnTo>
                  <a:lnTo>
                    <a:pt x="252" y="226"/>
                  </a:lnTo>
                  <a:lnTo>
                    <a:pt x="257" y="236"/>
                  </a:lnTo>
                  <a:lnTo>
                    <a:pt x="262" y="246"/>
                  </a:lnTo>
                  <a:lnTo>
                    <a:pt x="271" y="258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49" y="302"/>
                  </a:lnTo>
                  <a:lnTo>
                    <a:pt x="163" y="386"/>
                  </a:lnTo>
                  <a:lnTo>
                    <a:pt x="142" y="408"/>
                  </a:lnTo>
                  <a:lnTo>
                    <a:pt x="78" y="472"/>
                  </a:lnTo>
                  <a:lnTo>
                    <a:pt x="57" y="494"/>
                  </a:lnTo>
                  <a:lnTo>
                    <a:pt x="23" y="528"/>
                  </a:lnTo>
                  <a:lnTo>
                    <a:pt x="4" y="546"/>
                  </a:lnTo>
                  <a:lnTo>
                    <a:pt x="2" y="549"/>
                  </a:lnTo>
                  <a:lnTo>
                    <a:pt x="1" y="551"/>
                  </a:lnTo>
                  <a:lnTo>
                    <a:pt x="1" y="553"/>
                  </a:lnTo>
                  <a:lnTo>
                    <a:pt x="0" y="556"/>
                  </a:lnTo>
                  <a:lnTo>
                    <a:pt x="1" y="560"/>
                  </a:lnTo>
                  <a:lnTo>
                    <a:pt x="1" y="562"/>
                  </a:lnTo>
                  <a:lnTo>
                    <a:pt x="2" y="564"/>
                  </a:lnTo>
                  <a:lnTo>
                    <a:pt x="4" y="567"/>
                  </a:lnTo>
                  <a:lnTo>
                    <a:pt x="4" y="567"/>
                  </a:lnTo>
                  <a:lnTo>
                    <a:pt x="4" y="567"/>
                  </a:lnTo>
                  <a:lnTo>
                    <a:pt x="9" y="571"/>
                  </a:lnTo>
                  <a:lnTo>
                    <a:pt x="15" y="572"/>
                  </a:lnTo>
                  <a:lnTo>
                    <a:pt x="20" y="571"/>
                  </a:lnTo>
                  <a:lnTo>
                    <a:pt x="25" y="567"/>
                  </a:lnTo>
                  <a:lnTo>
                    <a:pt x="25" y="567"/>
                  </a:lnTo>
                  <a:lnTo>
                    <a:pt x="26" y="567"/>
                  </a:lnTo>
                  <a:lnTo>
                    <a:pt x="43" y="549"/>
                  </a:lnTo>
                  <a:lnTo>
                    <a:pt x="78" y="514"/>
                  </a:lnTo>
                  <a:lnTo>
                    <a:pt x="100" y="494"/>
                  </a:lnTo>
                  <a:lnTo>
                    <a:pt x="163" y="429"/>
                  </a:lnTo>
                  <a:lnTo>
                    <a:pt x="185" y="408"/>
                  </a:lnTo>
                  <a:lnTo>
                    <a:pt x="271" y="323"/>
                  </a:lnTo>
                  <a:lnTo>
                    <a:pt x="301" y="291"/>
                  </a:lnTo>
                  <a:lnTo>
                    <a:pt x="313" y="302"/>
                  </a:lnTo>
                  <a:lnTo>
                    <a:pt x="326" y="309"/>
                  </a:lnTo>
                  <a:lnTo>
                    <a:pt x="340" y="316"/>
                  </a:lnTo>
                  <a:lnTo>
                    <a:pt x="354" y="323"/>
                  </a:lnTo>
                  <a:lnTo>
                    <a:pt x="368" y="325"/>
                  </a:lnTo>
                  <a:lnTo>
                    <a:pt x="383" y="326"/>
                  </a:lnTo>
                  <a:lnTo>
                    <a:pt x="394" y="326"/>
                  </a:lnTo>
                  <a:lnTo>
                    <a:pt x="404" y="324"/>
                  </a:lnTo>
                  <a:lnTo>
                    <a:pt x="415" y="321"/>
                  </a:lnTo>
                  <a:lnTo>
                    <a:pt x="425" y="318"/>
                  </a:lnTo>
                  <a:lnTo>
                    <a:pt x="434" y="313"/>
                  </a:lnTo>
                  <a:lnTo>
                    <a:pt x="443" y="308"/>
                  </a:lnTo>
                  <a:lnTo>
                    <a:pt x="451" y="301"/>
                  </a:lnTo>
                  <a:lnTo>
                    <a:pt x="461" y="294"/>
                  </a:lnTo>
                  <a:lnTo>
                    <a:pt x="477" y="279"/>
                  </a:lnTo>
                  <a:lnTo>
                    <a:pt x="493" y="260"/>
                  </a:lnTo>
                  <a:lnTo>
                    <a:pt x="506" y="241"/>
                  </a:lnTo>
                  <a:lnTo>
                    <a:pt x="519" y="221"/>
                  </a:lnTo>
                  <a:lnTo>
                    <a:pt x="531" y="202"/>
                  </a:lnTo>
                  <a:lnTo>
                    <a:pt x="541" y="182"/>
                  </a:lnTo>
                  <a:lnTo>
                    <a:pt x="549" y="164"/>
                  </a:lnTo>
                  <a:lnTo>
                    <a:pt x="556" y="148"/>
                  </a:lnTo>
                  <a:lnTo>
                    <a:pt x="566" y="121"/>
                  </a:lnTo>
                  <a:lnTo>
                    <a:pt x="571" y="110"/>
                  </a:lnTo>
                  <a:lnTo>
                    <a:pt x="571" y="106"/>
                  </a:lnTo>
                  <a:lnTo>
                    <a:pt x="571" y="103"/>
                  </a:lnTo>
                  <a:lnTo>
                    <a:pt x="571" y="99"/>
                  </a:lnTo>
                  <a:lnTo>
                    <a:pt x="569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5" name="Freeform 725"/>
          <p:cNvSpPr>
            <a:spLocks noEditPoints="1"/>
          </p:cNvSpPr>
          <p:nvPr/>
        </p:nvSpPr>
        <p:spPr bwMode="auto">
          <a:xfrm>
            <a:off x="10331816" y="4545408"/>
            <a:ext cx="285750" cy="287338"/>
          </a:xfrm>
          <a:custGeom>
            <a:avLst/>
            <a:gdLst>
              <a:gd name="T0" fmla="*/ 611 w 903"/>
              <a:gd name="T1" fmla="*/ 631 h 903"/>
              <a:gd name="T2" fmla="*/ 603 w 903"/>
              <a:gd name="T3" fmla="*/ 623 h 903"/>
              <a:gd name="T4" fmla="*/ 603 w 903"/>
              <a:gd name="T5" fmla="*/ 611 h 903"/>
              <a:gd name="T6" fmla="*/ 611 w 903"/>
              <a:gd name="T7" fmla="*/ 603 h 903"/>
              <a:gd name="T8" fmla="*/ 801 w 903"/>
              <a:gd name="T9" fmla="*/ 603 h 903"/>
              <a:gd name="T10" fmla="*/ 810 w 903"/>
              <a:gd name="T11" fmla="*/ 608 h 903"/>
              <a:gd name="T12" fmla="*/ 813 w 903"/>
              <a:gd name="T13" fmla="*/ 620 h 903"/>
              <a:gd name="T14" fmla="*/ 806 w 903"/>
              <a:gd name="T15" fmla="*/ 629 h 903"/>
              <a:gd name="T16" fmla="*/ 406 w 903"/>
              <a:gd name="T17" fmla="*/ 90 h 903"/>
              <a:gd name="T18" fmla="*/ 595 w 903"/>
              <a:gd name="T19" fmla="*/ 92 h 903"/>
              <a:gd name="T20" fmla="*/ 601 w 903"/>
              <a:gd name="T21" fmla="*/ 102 h 903"/>
              <a:gd name="T22" fmla="*/ 599 w 903"/>
              <a:gd name="T23" fmla="*/ 114 h 903"/>
              <a:gd name="T24" fmla="*/ 589 w 903"/>
              <a:gd name="T25" fmla="*/ 120 h 903"/>
              <a:gd name="T26" fmla="*/ 401 w 903"/>
              <a:gd name="T27" fmla="*/ 119 h 903"/>
              <a:gd name="T28" fmla="*/ 392 w 903"/>
              <a:gd name="T29" fmla="*/ 111 h 903"/>
              <a:gd name="T30" fmla="*/ 392 w 903"/>
              <a:gd name="T31" fmla="*/ 100 h 903"/>
              <a:gd name="T32" fmla="*/ 401 w 903"/>
              <a:gd name="T33" fmla="*/ 91 h 903"/>
              <a:gd name="T34" fmla="*/ 106 w 903"/>
              <a:gd name="T35" fmla="*/ 632 h 903"/>
              <a:gd name="T36" fmla="*/ 95 w 903"/>
              <a:gd name="T37" fmla="*/ 627 h 903"/>
              <a:gd name="T38" fmla="*/ 90 w 903"/>
              <a:gd name="T39" fmla="*/ 617 h 903"/>
              <a:gd name="T40" fmla="*/ 95 w 903"/>
              <a:gd name="T41" fmla="*/ 606 h 903"/>
              <a:gd name="T42" fmla="*/ 106 w 903"/>
              <a:gd name="T43" fmla="*/ 602 h 903"/>
              <a:gd name="T44" fmla="*/ 295 w 903"/>
              <a:gd name="T45" fmla="*/ 605 h 903"/>
              <a:gd name="T46" fmla="*/ 301 w 903"/>
              <a:gd name="T47" fmla="*/ 614 h 903"/>
              <a:gd name="T48" fmla="*/ 299 w 903"/>
              <a:gd name="T49" fmla="*/ 625 h 903"/>
              <a:gd name="T50" fmla="*/ 289 w 903"/>
              <a:gd name="T51" fmla="*/ 632 h 903"/>
              <a:gd name="T52" fmla="*/ 783 w 903"/>
              <a:gd name="T53" fmla="*/ 512 h 903"/>
              <a:gd name="T54" fmla="*/ 780 w 903"/>
              <a:gd name="T55" fmla="*/ 428 h 903"/>
              <a:gd name="T56" fmla="*/ 771 w 903"/>
              <a:gd name="T57" fmla="*/ 421 h 903"/>
              <a:gd name="T58" fmla="*/ 677 w 903"/>
              <a:gd name="T59" fmla="*/ 391 h 903"/>
              <a:gd name="T60" fmla="*/ 688 w 903"/>
              <a:gd name="T61" fmla="*/ 387 h 903"/>
              <a:gd name="T62" fmla="*/ 692 w 903"/>
              <a:gd name="T63" fmla="*/ 376 h 903"/>
              <a:gd name="T64" fmla="*/ 689 w 903"/>
              <a:gd name="T65" fmla="*/ 6 h 903"/>
              <a:gd name="T66" fmla="*/ 681 w 903"/>
              <a:gd name="T67" fmla="*/ 0 h 903"/>
              <a:gd name="T68" fmla="*/ 311 w 903"/>
              <a:gd name="T69" fmla="*/ 1 h 903"/>
              <a:gd name="T70" fmla="*/ 302 w 903"/>
              <a:gd name="T71" fmla="*/ 8 h 903"/>
              <a:gd name="T72" fmla="*/ 301 w 903"/>
              <a:gd name="T73" fmla="*/ 380 h 903"/>
              <a:gd name="T74" fmla="*/ 307 w 903"/>
              <a:gd name="T75" fmla="*/ 388 h 903"/>
              <a:gd name="T76" fmla="*/ 481 w 903"/>
              <a:gd name="T77" fmla="*/ 391 h 903"/>
              <a:gd name="T78" fmla="*/ 129 w 903"/>
              <a:gd name="T79" fmla="*/ 422 h 903"/>
              <a:gd name="T80" fmla="*/ 122 w 903"/>
              <a:gd name="T81" fmla="*/ 430 h 903"/>
              <a:gd name="T82" fmla="*/ 15 w 903"/>
              <a:gd name="T83" fmla="*/ 512 h 903"/>
              <a:gd name="T84" fmla="*/ 4 w 903"/>
              <a:gd name="T85" fmla="*/ 516 h 903"/>
              <a:gd name="T86" fmla="*/ 0 w 903"/>
              <a:gd name="T87" fmla="*/ 527 h 903"/>
              <a:gd name="T88" fmla="*/ 3 w 903"/>
              <a:gd name="T89" fmla="*/ 897 h 903"/>
              <a:gd name="T90" fmla="*/ 11 w 903"/>
              <a:gd name="T91" fmla="*/ 903 h 903"/>
              <a:gd name="T92" fmla="*/ 382 w 903"/>
              <a:gd name="T93" fmla="*/ 902 h 903"/>
              <a:gd name="T94" fmla="*/ 390 w 903"/>
              <a:gd name="T95" fmla="*/ 893 h 903"/>
              <a:gd name="T96" fmla="*/ 391 w 903"/>
              <a:gd name="T97" fmla="*/ 523 h 903"/>
              <a:gd name="T98" fmla="*/ 385 w 903"/>
              <a:gd name="T99" fmla="*/ 514 h 903"/>
              <a:gd name="T100" fmla="*/ 151 w 903"/>
              <a:gd name="T101" fmla="*/ 512 h 903"/>
              <a:gd name="T102" fmla="*/ 526 w 903"/>
              <a:gd name="T103" fmla="*/ 512 h 903"/>
              <a:gd name="T104" fmla="*/ 517 w 903"/>
              <a:gd name="T105" fmla="*/ 516 h 903"/>
              <a:gd name="T106" fmla="*/ 511 w 903"/>
              <a:gd name="T107" fmla="*/ 527 h 903"/>
              <a:gd name="T108" fmla="*/ 514 w 903"/>
              <a:gd name="T109" fmla="*/ 897 h 903"/>
              <a:gd name="T110" fmla="*/ 524 w 903"/>
              <a:gd name="T111" fmla="*/ 903 h 903"/>
              <a:gd name="T112" fmla="*/ 894 w 903"/>
              <a:gd name="T113" fmla="*/ 902 h 903"/>
              <a:gd name="T114" fmla="*/ 902 w 903"/>
              <a:gd name="T115" fmla="*/ 893 h 903"/>
              <a:gd name="T116" fmla="*/ 903 w 903"/>
              <a:gd name="T117" fmla="*/ 523 h 903"/>
              <a:gd name="T118" fmla="*/ 896 w 903"/>
              <a:gd name="T119" fmla="*/ 514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3" h="903">
                <a:moveTo>
                  <a:pt x="798" y="632"/>
                </a:moveTo>
                <a:lnTo>
                  <a:pt x="617" y="632"/>
                </a:lnTo>
                <a:lnTo>
                  <a:pt x="614" y="632"/>
                </a:lnTo>
                <a:lnTo>
                  <a:pt x="611" y="631"/>
                </a:lnTo>
                <a:lnTo>
                  <a:pt x="609" y="629"/>
                </a:lnTo>
                <a:lnTo>
                  <a:pt x="607" y="627"/>
                </a:lnTo>
                <a:lnTo>
                  <a:pt x="605" y="625"/>
                </a:lnTo>
                <a:lnTo>
                  <a:pt x="603" y="623"/>
                </a:lnTo>
                <a:lnTo>
                  <a:pt x="602" y="620"/>
                </a:lnTo>
                <a:lnTo>
                  <a:pt x="602" y="617"/>
                </a:lnTo>
                <a:lnTo>
                  <a:pt x="602" y="614"/>
                </a:lnTo>
                <a:lnTo>
                  <a:pt x="603" y="611"/>
                </a:lnTo>
                <a:lnTo>
                  <a:pt x="605" y="608"/>
                </a:lnTo>
                <a:lnTo>
                  <a:pt x="607" y="606"/>
                </a:lnTo>
                <a:lnTo>
                  <a:pt x="609" y="605"/>
                </a:lnTo>
                <a:lnTo>
                  <a:pt x="611" y="603"/>
                </a:lnTo>
                <a:lnTo>
                  <a:pt x="614" y="603"/>
                </a:lnTo>
                <a:lnTo>
                  <a:pt x="617" y="602"/>
                </a:lnTo>
                <a:lnTo>
                  <a:pt x="798" y="602"/>
                </a:lnTo>
                <a:lnTo>
                  <a:pt x="801" y="603"/>
                </a:lnTo>
                <a:lnTo>
                  <a:pt x="804" y="603"/>
                </a:lnTo>
                <a:lnTo>
                  <a:pt x="806" y="605"/>
                </a:lnTo>
                <a:lnTo>
                  <a:pt x="808" y="606"/>
                </a:lnTo>
                <a:lnTo>
                  <a:pt x="810" y="608"/>
                </a:lnTo>
                <a:lnTo>
                  <a:pt x="811" y="611"/>
                </a:lnTo>
                <a:lnTo>
                  <a:pt x="813" y="614"/>
                </a:lnTo>
                <a:lnTo>
                  <a:pt x="813" y="617"/>
                </a:lnTo>
                <a:lnTo>
                  <a:pt x="813" y="620"/>
                </a:lnTo>
                <a:lnTo>
                  <a:pt x="811" y="623"/>
                </a:lnTo>
                <a:lnTo>
                  <a:pt x="810" y="625"/>
                </a:lnTo>
                <a:lnTo>
                  <a:pt x="808" y="627"/>
                </a:lnTo>
                <a:lnTo>
                  <a:pt x="806" y="629"/>
                </a:lnTo>
                <a:lnTo>
                  <a:pt x="804" y="631"/>
                </a:lnTo>
                <a:lnTo>
                  <a:pt x="801" y="632"/>
                </a:lnTo>
                <a:lnTo>
                  <a:pt x="798" y="632"/>
                </a:lnTo>
                <a:close/>
                <a:moveTo>
                  <a:pt x="406" y="90"/>
                </a:moveTo>
                <a:lnTo>
                  <a:pt x="587" y="90"/>
                </a:lnTo>
                <a:lnTo>
                  <a:pt x="589" y="90"/>
                </a:lnTo>
                <a:lnTo>
                  <a:pt x="593" y="91"/>
                </a:lnTo>
                <a:lnTo>
                  <a:pt x="595" y="92"/>
                </a:lnTo>
                <a:lnTo>
                  <a:pt x="598" y="94"/>
                </a:lnTo>
                <a:lnTo>
                  <a:pt x="599" y="96"/>
                </a:lnTo>
                <a:lnTo>
                  <a:pt x="601" y="100"/>
                </a:lnTo>
                <a:lnTo>
                  <a:pt x="601" y="102"/>
                </a:lnTo>
                <a:lnTo>
                  <a:pt x="602" y="105"/>
                </a:lnTo>
                <a:lnTo>
                  <a:pt x="601" y="108"/>
                </a:lnTo>
                <a:lnTo>
                  <a:pt x="601" y="111"/>
                </a:lnTo>
                <a:lnTo>
                  <a:pt x="599" y="114"/>
                </a:lnTo>
                <a:lnTo>
                  <a:pt x="598" y="116"/>
                </a:lnTo>
                <a:lnTo>
                  <a:pt x="595" y="118"/>
                </a:lnTo>
                <a:lnTo>
                  <a:pt x="593" y="119"/>
                </a:lnTo>
                <a:lnTo>
                  <a:pt x="589" y="120"/>
                </a:lnTo>
                <a:lnTo>
                  <a:pt x="587" y="120"/>
                </a:lnTo>
                <a:lnTo>
                  <a:pt x="406" y="120"/>
                </a:lnTo>
                <a:lnTo>
                  <a:pt x="403" y="120"/>
                </a:lnTo>
                <a:lnTo>
                  <a:pt x="401" y="119"/>
                </a:lnTo>
                <a:lnTo>
                  <a:pt x="398" y="118"/>
                </a:lnTo>
                <a:lnTo>
                  <a:pt x="395" y="116"/>
                </a:lnTo>
                <a:lnTo>
                  <a:pt x="394" y="114"/>
                </a:lnTo>
                <a:lnTo>
                  <a:pt x="392" y="111"/>
                </a:lnTo>
                <a:lnTo>
                  <a:pt x="391" y="108"/>
                </a:lnTo>
                <a:lnTo>
                  <a:pt x="391" y="105"/>
                </a:lnTo>
                <a:lnTo>
                  <a:pt x="391" y="102"/>
                </a:lnTo>
                <a:lnTo>
                  <a:pt x="392" y="100"/>
                </a:lnTo>
                <a:lnTo>
                  <a:pt x="394" y="96"/>
                </a:lnTo>
                <a:lnTo>
                  <a:pt x="395" y="94"/>
                </a:lnTo>
                <a:lnTo>
                  <a:pt x="398" y="92"/>
                </a:lnTo>
                <a:lnTo>
                  <a:pt x="401" y="91"/>
                </a:lnTo>
                <a:lnTo>
                  <a:pt x="403" y="90"/>
                </a:lnTo>
                <a:lnTo>
                  <a:pt x="406" y="90"/>
                </a:lnTo>
                <a:close/>
                <a:moveTo>
                  <a:pt x="286" y="632"/>
                </a:moveTo>
                <a:lnTo>
                  <a:pt x="106" y="632"/>
                </a:lnTo>
                <a:lnTo>
                  <a:pt x="103" y="632"/>
                </a:lnTo>
                <a:lnTo>
                  <a:pt x="99" y="631"/>
                </a:lnTo>
                <a:lnTo>
                  <a:pt x="97" y="629"/>
                </a:lnTo>
                <a:lnTo>
                  <a:pt x="95" y="627"/>
                </a:lnTo>
                <a:lnTo>
                  <a:pt x="93" y="625"/>
                </a:lnTo>
                <a:lnTo>
                  <a:pt x="92" y="623"/>
                </a:lnTo>
                <a:lnTo>
                  <a:pt x="91" y="620"/>
                </a:lnTo>
                <a:lnTo>
                  <a:pt x="90" y="617"/>
                </a:lnTo>
                <a:lnTo>
                  <a:pt x="91" y="614"/>
                </a:lnTo>
                <a:lnTo>
                  <a:pt x="92" y="611"/>
                </a:lnTo>
                <a:lnTo>
                  <a:pt x="93" y="608"/>
                </a:lnTo>
                <a:lnTo>
                  <a:pt x="95" y="606"/>
                </a:lnTo>
                <a:lnTo>
                  <a:pt x="97" y="605"/>
                </a:lnTo>
                <a:lnTo>
                  <a:pt x="99" y="603"/>
                </a:lnTo>
                <a:lnTo>
                  <a:pt x="103" y="603"/>
                </a:lnTo>
                <a:lnTo>
                  <a:pt x="106" y="602"/>
                </a:lnTo>
                <a:lnTo>
                  <a:pt x="286" y="602"/>
                </a:lnTo>
                <a:lnTo>
                  <a:pt x="289" y="603"/>
                </a:lnTo>
                <a:lnTo>
                  <a:pt x="291" y="603"/>
                </a:lnTo>
                <a:lnTo>
                  <a:pt x="295" y="605"/>
                </a:lnTo>
                <a:lnTo>
                  <a:pt x="297" y="606"/>
                </a:lnTo>
                <a:lnTo>
                  <a:pt x="299" y="608"/>
                </a:lnTo>
                <a:lnTo>
                  <a:pt x="300" y="611"/>
                </a:lnTo>
                <a:lnTo>
                  <a:pt x="301" y="614"/>
                </a:lnTo>
                <a:lnTo>
                  <a:pt x="301" y="617"/>
                </a:lnTo>
                <a:lnTo>
                  <a:pt x="301" y="620"/>
                </a:lnTo>
                <a:lnTo>
                  <a:pt x="300" y="623"/>
                </a:lnTo>
                <a:lnTo>
                  <a:pt x="299" y="625"/>
                </a:lnTo>
                <a:lnTo>
                  <a:pt x="297" y="627"/>
                </a:lnTo>
                <a:lnTo>
                  <a:pt x="295" y="629"/>
                </a:lnTo>
                <a:lnTo>
                  <a:pt x="291" y="631"/>
                </a:lnTo>
                <a:lnTo>
                  <a:pt x="289" y="632"/>
                </a:lnTo>
                <a:lnTo>
                  <a:pt x="286" y="632"/>
                </a:lnTo>
                <a:lnTo>
                  <a:pt x="286" y="632"/>
                </a:lnTo>
                <a:close/>
                <a:moveTo>
                  <a:pt x="888" y="512"/>
                </a:moveTo>
                <a:lnTo>
                  <a:pt x="783" y="512"/>
                </a:lnTo>
                <a:lnTo>
                  <a:pt x="783" y="436"/>
                </a:lnTo>
                <a:lnTo>
                  <a:pt x="783" y="433"/>
                </a:lnTo>
                <a:lnTo>
                  <a:pt x="781" y="430"/>
                </a:lnTo>
                <a:lnTo>
                  <a:pt x="780" y="428"/>
                </a:lnTo>
                <a:lnTo>
                  <a:pt x="778" y="426"/>
                </a:lnTo>
                <a:lnTo>
                  <a:pt x="776" y="424"/>
                </a:lnTo>
                <a:lnTo>
                  <a:pt x="774" y="422"/>
                </a:lnTo>
                <a:lnTo>
                  <a:pt x="771" y="421"/>
                </a:lnTo>
                <a:lnTo>
                  <a:pt x="768" y="421"/>
                </a:lnTo>
                <a:lnTo>
                  <a:pt x="511" y="421"/>
                </a:lnTo>
                <a:lnTo>
                  <a:pt x="511" y="391"/>
                </a:lnTo>
                <a:lnTo>
                  <a:pt x="677" y="391"/>
                </a:lnTo>
                <a:lnTo>
                  <a:pt x="681" y="391"/>
                </a:lnTo>
                <a:lnTo>
                  <a:pt x="683" y="390"/>
                </a:lnTo>
                <a:lnTo>
                  <a:pt x="686" y="388"/>
                </a:lnTo>
                <a:lnTo>
                  <a:pt x="688" y="387"/>
                </a:lnTo>
                <a:lnTo>
                  <a:pt x="689" y="385"/>
                </a:lnTo>
                <a:lnTo>
                  <a:pt x="691" y="382"/>
                </a:lnTo>
                <a:lnTo>
                  <a:pt x="692" y="380"/>
                </a:lnTo>
                <a:lnTo>
                  <a:pt x="692" y="376"/>
                </a:lnTo>
                <a:lnTo>
                  <a:pt x="692" y="15"/>
                </a:lnTo>
                <a:lnTo>
                  <a:pt x="692" y="12"/>
                </a:lnTo>
                <a:lnTo>
                  <a:pt x="691" y="8"/>
                </a:lnTo>
                <a:lnTo>
                  <a:pt x="689" y="6"/>
                </a:lnTo>
                <a:lnTo>
                  <a:pt x="688" y="4"/>
                </a:lnTo>
                <a:lnTo>
                  <a:pt x="686" y="2"/>
                </a:lnTo>
                <a:lnTo>
                  <a:pt x="683" y="1"/>
                </a:lnTo>
                <a:lnTo>
                  <a:pt x="681" y="0"/>
                </a:lnTo>
                <a:lnTo>
                  <a:pt x="677" y="0"/>
                </a:lnTo>
                <a:lnTo>
                  <a:pt x="316" y="0"/>
                </a:lnTo>
                <a:lnTo>
                  <a:pt x="313" y="0"/>
                </a:lnTo>
                <a:lnTo>
                  <a:pt x="311" y="1"/>
                </a:lnTo>
                <a:lnTo>
                  <a:pt x="307" y="2"/>
                </a:lnTo>
                <a:lnTo>
                  <a:pt x="305" y="4"/>
                </a:lnTo>
                <a:lnTo>
                  <a:pt x="303" y="6"/>
                </a:lnTo>
                <a:lnTo>
                  <a:pt x="302" y="8"/>
                </a:lnTo>
                <a:lnTo>
                  <a:pt x="301" y="12"/>
                </a:lnTo>
                <a:lnTo>
                  <a:pt x="301" y="15"/>
                </a:lnTo>
                <a:lnTo>
                  <a:pt x="301" y="376"/>
                </a:lnTo>
                <a:lnTo>
                  <a:pt x="301" y="380"/>
                </a:lnTo>
                <a:lnTo>
                  <a:pt x="302" y="382"/>
                </a:lnTo>
                <a:lnTo>
                  <a:pt x="303" y="385"/>
                </a:lnTo>
                <a:lnTo>
                  <a:pt x="305" y="387"/>
                </a:lnTo>
                <a:lnTo>
                  <a:pt x="307" y="388"/>
                </a:lnTo>
                <a:lnTo>
                  <a:pt x="311" y="390"/>
                </a:lnTo>
                <a:lnTo>
                  <a:pt x="313" y="391"/>
                </a:lnTo>
                <a:lnTo>
                  <a:pt x="316" y="391"/>
                </a:lnTo>
                <a:lnTo>
                  <a:pt x="481" y="391"/>
                </a:lnTo>
                <a:lnTo>
                  <a:pt x="481" y="421"/>
                </a:lnTo>
                <a:lnTo>
                  <a:pt x="136" y="421"/>
                </a:lnTo>
                <a:lnTo>
                  <a:pt x="133" y="421"/>
                </a:lnTo>
                <a:lnTo>
                  <a:pt x="129" y="422"/>
                </a:lnTo>
                <a:lnTo>
                  <a:pt x="127" y="424"/>
                </a:lnTo>
                <a:lnTo>
                  <a:pt x="125" y="426"/>
                </a:lnTo>
                <a:lnTo>
                  <a:pt x="123" y="428"/>
                </a:lnTo>
                <a:lnTo>
                  <a:pt x="122" y="430"/>
                </a:lnTo>
                <a:lnTo>
                  <a:pt x="121" y="433"/>
                </a:lnTo>
                <a:lnTo>
                  <a:pt x="121" y="436"/>
                </a:lnTo>
                <a:lnTo>
                  <a:pt x="121" y="512"/>
                </a:lnTo>
                <a:lnTo>
                  <a:pt x="15" y="512"/>
                </a:lnTo>
                <a:lnTo>
                  <a:pt x="11" y="512"/>
                </a:lnTo>
                <a:lnTo>
                  <a:pt x="9" y="513"/>
                </a:lnTo>
                <a:lnTo>
                  <a:pt x="6" y="514"/>
                </a:lnTo>
                <a:lnTo>
                  <a:pt x="4" y="516"/>
                </a:lnTo>
                <a:lnTo>
                  <a:pt x="3" y="518"/>
                </a:lnTo>
                <a:lnTo>
                  <a:pt x="1" y="521"/>
                </a:lnTo>
                <a:lnTo>
                  <a:pt x="1" y="523"/>
                </a:lnTo>
                <a:lnTo>
                  <a:pt x="0" y="527"/>
                </a:lnTo>
                <a:lnTo>
                  <a:pt x="0" y="888"/>
                </a:lnTo>
                <a:lnTo>
                  <a:pt x="1" y="891"/>
                </a:lnTo>
                <a:lnTo>
                  <a:pt x="1" y="893"/>
                </a:lnTo>
                <a:lnTo>
                  <a:pt x="3" y="897"/>
                </a:lnTo>
                <a:lnTo>
                  <a:pt x="4" y="899"/>
                </a:lnTo>
                <a:lnTo>
                  <a:pt x="6" y="901"/>
                </a:lnTo>
                <a:lnTo>
                  <a:pt x="9" y="902"/>
                </a:lnTo>
                <a:lnTo>
                  <a:pt x="11" y="903"/>
                </a:lnTo>
                <a:lnTo>
                  <a:pt x="15" y="903"/>
                </a:lnTo>
                <a:lnTo>
                  <a:pt x="376" y="903"/>
                </a:lnTo>
                <a:lnTo>
                  <a:pt x="379" y="903"/>
                </a:lnTo>
                <a:lnTo>
                  <a:pt x="382" y="902"/>
                </a:lnTo>
                <a:lnTo>
                  <a:pt x="385" y="901"/>
                </a:lnTo>
                <a:lnTo>
                  <a:pt x="387" y="899"/>
                </a:lnTo>
                <a:lnTo>
                  <a:pt x="389" y="897"/>
                </a:lnTo>
                <a:lnTo>
                  <a:pt x="390" y="893"/>
                </a:lnTo>
                <a:lnTo>
                  <a:pt x="391" y="891"/>
                </a:lnTo>
                <a:lnTo>
                  <a:pt x="391" y="888"/>
                </a:lnTo>
                <a:lnTo>
                  <a:pt x="391" y="527"/>
                </a:lnTo>
                <a:lnTo>
                  <a:pt x="391" y="523"/>
                </a:lnTo>
                <a:lnTo>
                  <a:pt x="390" y="521"/>
                </a:lnTo>
                <a:lnTo>
                  <a:pt x="389" y="518"/>
                </a:lnTo>
                <a:lnTo>
                  <a:pt x="387" y="516"/>
                </a:lnTo>
                <a:lnTo>
                  <a:pt x="385" y="514"/>
                </a:lnTo>
                <a:lnTo>
                  <a:pt x="382" y="513"/>
                </a:lnTo>
                <a:lnTo>
                  <a:pt x="379" y="512"/>
                </a:lnTo>
                <a:lnTo>
                  <a:pt x="376" y="512"/>
                </a:lnTo>
                <a:lnTo>
                  <a:pt x="151" y="512"/>
                </a:lnTo>
                <a:lnTo>
                  <a:pt x="151" y="451"/>
                </a:lnTo>
                <a:lnTo>
                  <a:pt x="753" y="451"/>
                </a:lnTo>
                <a:lnTo>
                  <a:pt x="753" y="512"/>
                </a:lnTo>
                <a:lnTo>
                  <a:pt x="526" y="512"/>
                </a:lnTo>
                <a:lnTo>
                  <a:pt x="524" y="512"/>
                </a:lnTo>
                <a:lnTo>
                  <a:pt x="521" y="513"/>
                </a:lnTo>
                <a:lnTo>
                  <a:pt x="519" y="514"/>
                </a:lnTo>
                <a:lnTo>
                  <a:pt x="517" y="516"/>
                </a:lnTo>
                <a:lnTo>
                  <a:pt x="514" y="518"/>
                </a:lnTo>
                <a:lnTo>
                  <a:pt x="513" y="521"/>
                </a:lnTo>
                <a:lnTo>
                  <a:pt x="512" y="523"/>
                </a:lnTo>
                <a:lnTo>
                  <a:pt x="511" y="527"/>
                </a:lnTo>
                <a:lnTo>
                  <a:pt x="511" y="888"/>
                </a:lnTo>
                <a:lnTo>
                  <a:pt x="512" y="891"/>
                </a:lnTo>
                <a:lnTo>
                  <a:pt x="513" y="893"/>
                </a:lnTo>
                <a:lnTo>
                  <a:pt x="514" y="897"/>
                </a:lnTo>
                <a:lnTo>
                  <a:pt x="517" y="899"/>
                </a:lnTo>
                <a:lnTo>
                  <a:pt x="519" y="901"/>
                </a:lnTo>
                <a:lnTo>
                  <a:pt x="521" y="902"/>
                </a:lnTo>
                <a:lnTo>
                  <a:pt x="524" y="903"/>
                </a:lnTo>
                <a:lnTo>
                  <a:pt x="526" y="903"/>
                </a:lnTo>
                <a:lnTo>
                  <a:pt x="888" y="903"/>
                </a:lnTo>
                <a:lnTo>
                  <a:pt x="891" y="903"/>
                </a:lnTo>
                <a:lnTo>
                  <a:pt x="894" y="902"/>
                </a:lnTo>
                <a:lnTo>
                  <a:pt x="896" y="901"/>
                </a:lnTo>
                <a:lnTo>
                  <a:pt x="898" y="899"/>
                </a:lnTo>
                <a:lnTo>
                  <a:pt x="901" y="897"/>
                </a:lnTo>
                <a:lnTo>
                  <a:pt x="902" y="893"/>
                </a:lnTo>
                <a:lnTo>
                  <a:pt x="903" y="891"/>
                </a:lnTo>
                <a:lnTo>
                  <a:pt x="903" y="888"/>
                </a:lnTo>
                <a:lnTo>
                  <a:pt x="903" y="527"/>
                </a:lnTo>
                <a:lnTo>
                  <a:pt x="903" y="523"/>
                </a:lnTo>
                <a:lnTo>
                  <a:pt x="902" y="521"/>
                </a:lnTo>
                <a:lnTo>
                  <a:pt x="901" y="518"/>
                </a:lnTo>
                <a:lnTo>
                  <a:pt x="898" y="516"/>
                </a:lnTo>
                <a:lnTo>
                  <a:pt x="896" y="514"/>
                </a:lnTo>
                <a:lnTo>
                  <a:pt x="894" y="513"/>
                </a:lnTo>
                <a:lnTo>
                  <a:pt x="891" y="512"/>
                </a:lnTo>
                <a:lnTo>
                  <a:pt x="888" y="5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TextBox 395"/>
          <p:cNvSpPr txBox="1"/>
          <p:nvPr/>
        </p:nvSpPr>
        <p:spPr>
          <a:xfrm>
            <a:off x="991072" y="5548251"/>
            <a:ext cx="138303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 is simply dummy </a:t>
            </a:r>
            <a:r>
              <a:rPr lang="en-US" sz="1100" dirty="0" smtClean="0"/>
              <a:t>text.</a:t>
            </a:r>
            <a:endParaRPr lang="en-US" sz="1100" dirty="0"/>
          </a:p>
        </p:txBody>
      </p:sp>
      <p:sp>
        <p:nvSpPr>
          <p:cNvPr id="397" name="TextBox 396"/>
          <p:cNvSpPr txBox="1"/>
          <p:nvPr/>
        </p:nvSpPr>
        <p:spPr>
          <a:xfrm>
            <a:off x="2711842" y="5548251"/>
            <a:ext cx="138303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 is simply dummy </a:t>
            </a:r>
            <a:r>
              <a:rPr lang="en-US" sz="1100" dirty="0" smtClean="0"/>
              <a:t>text.</a:t>
            </a:r>
            <a:endParaRPr lang="en-US" sz="1100" dirty="0"/>
          </a:p>
        </p:txBody>
      </p:sp>
      <p:sp>
        <p:nvSpPr>
          <p:cNvPr id="398" name="TextBox 397"/>
          <p:cNvSpPr txBox="1"/>
          <p:nvPr/>
        </p:nvSpPr>
        <p:spPr>
          <a:xfrm>
            <a:off x="4445631" y="5548251"/>
            <a:ext cx="138303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 is simply dummy </a:t>
            </a:r>
            <a:r>
              <a:rPr lang="en-US" sz="1100" dirty="0" smtClean="0"/>
              <a:t>text.</a:t>
            </a:r>
            <a:endParaRPr lang="en-US" sz="1100" dirty="0"/>
          </a:p>
        </p:txBody>
      </p:sp>
      <p:sp>
        <p:nvSpPr>
          <p:cNvPr id="399" name="TextBox 398"/>
          <p:cNvSpPr txBox="1"/>
          <p:nvPr/>
        </p:nvSpPr>
        <p:spPr>
          <a:xfrm>
            <a:off x="6243237" y="5548251"/>
            <a:ext cx="138303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 is simply dummy </a:t>
            </a:r>
            <a:r>
              <a:rPr lang="en-US" sz="1100" dirty="0" smtClean="0"/>
              <a:t>text.</a:t>
            </a:r>
            <a:endParaRPr lang="en-US" sz="1100" dirty="0"/>
          </a:p>
        </p:txBody>
      </p:sp>
      <p:sp>
        <p:nvSpPr>
          <p:cNvPr id="400" name="TextBox 399"/>
          <p:cNvSpPr txBox="1"/>
          <p:nvPr/>
        </p:nvSpPr>
        <p:spPr>
          <a:xfrm>
            <a:off x="8017050" y="5548251"/>
            <a:ext cx="138303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 is simply dummy </a:t>
            </a:r>
            <a:r>
              <a:rPr lang="en-US" sz="1100" dirty="0" smtClean="0"/>
              <a:t>text.</a:t>
            </a:r>
            <a:endParaRPr lang="en-US" sz="1100" dirty="0"/>
          </a:p>
        </p:txBody>
      </p:sp>
      <p:sp>
        <p:nvSpPr>
          <p:cNvPr id="401" name="TextBox 400"/>
          <p:cNvSpPr txBox="1"/>
          <p:nvPr/>
        </p:nvSpPr>
        <p:spPr>
          <a:xfrm>
            <a:off x="9783172" y="5548251"/>
            <a:ext cx="138303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/>
              <a:t>Lorem Ipsum is simply dummy </a:t>
            </a:r>
            <a:r>
              <a:rPr lang="en-US" sz="1100" dirty="0" smtClean="0"/>
              <a:t>text.</a:t>
            </a:r>
            <a:endParaRPr lang="en-US" sz="1100" dirty="0"/>
          </a:p>
        </p:txBody>
      </p:sp>
      <p:grpSp>
        <p:nvGrpSpPr>
          <p:cNvPr id="402" name="Group 401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403" name="Parallelogram 40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Parallelogram 405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Parallelogram 406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5483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2" name="Group 401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403" name="Parallelogram 40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Parallelogram 405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Parallelogram 406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02" name="Straight Connector 201"/>
          <p:cNvCxnSpPr/>
          <p:nvPr/>
        </p:nvCxnSpPr>
        <p:spPr>
          <a:xfrm>
            <a:off x="6087175" y="2734851"/>
            <a:ext cx="0" cy="275129"/>
          </a:xfrm>
          <a:prstGeom prst="line">
            <a:avLst/>
          </a:prstGeom>
          <a:ln>
            <a:solidFill>
              <a:srgbClr val="016A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/>
        </p:nvCxnSpPr>
        <p:spPr>
          <a:xfrm>
            <a:off x="2249576" y="3009982"/>
            <a:ext cx="7675196" cy="1"/>
          </a:xfrm>
          <a:prstGeom prst="line">
            <a:avLst/>
          </a:prstGeom>
          <a:ln>
            <a:solidFill>
              <a:srgbClr val="016A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ounded Rectangle 203"/>
          <p:cNvSpPr/>
          <p:nvPr/>
        </p:nvSpPr>
        <p:spPr>
          <a:xfrm>
            <a:off x="4911247" y="2118384"/>
            <a:ext cx="2361346" cy="616467"/>
          </a:xfrm>
          <a:prstGeom prst="roundRect">
            <a:avLst/>
          </a:prstGeom>
          <a:noFill/>
          <a:ln>
            <a:solidFill>
              <a:srgbClr val="016A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" name="Group 205"/>
          <p:cNvGrpSpPr/>
          <p:nvPr/>
        </p:nvGrpSpPr>
        <p:grpSpPr>
          <a:xfrm>
            <a:off x="5469267" y="2303274"/>
            <a:ext cx="1245306" cy="415786"/>
            <a:chOff x="5469267" y="2336610"/>
            <a:chExt cx="1245306" cy="415786"/>
          </a:xfrm>
        </p:grpSpPr>
        <p:sp>
          <p:nvSpPr>
            <p:cNvPr id="307" name="TextBox 306"/>
            <p:cNvSpPr txBox="1"/>
            <p:nvPr/>
          </p:nvSpPr>
          <p:spPr>
            <a:xfrm>
              <a:off x="5526714" y="2336610"/>
              <a:ext cx="1130412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dirty="0" smtClean="0"/>
                <a:t>PRESIDENT</a:t>
              </a:r>
            </a:p>
          </p:txBody>
        </p:sp>
        <p:sp>
          <p:nvSpPr>
            <p:cNvPr id="315" name="TextBox 314"/>
            <p:cNvSpPr txBox="1"/>
            <p:nvPr/>
          </p:nvSpPr>
          <p:spPr>
            <a:xfrm>
              <a:off x="5469267" y="2567730"/>
              <a:ext cx="1245306" cy="18466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 smtClean="0"/>
                <a:t>MEMBER </a:t>
              </a:r>
              <a:r>
                <a:rPr lang="en-US" sz="1200" b="1" dirty="0" smtClean="0"/>
                <a:t>NAME</a:t>
              </a:r>
            </a:p>
          </p:txBody>
        </p:sp>
        <p:cxnSp>
          <p:nvCxnSpPr>
            <p:cNvPr id="316" name="Straight Connector 315"/>
            <p:cNvCxnSpPr/>
            <p:nvPr/>
          </p:nvCxnSpPr>
          <p:spPr>
            <a:xfrm>
              <a:off x="5572149" y="2575280"/>
              <a:ext cx="1039542" cy="0"/>
            </a:xfrm>
            <a:prstGeom prst="line">
              <a:avLst/>
            </a:prstGeom>
            <a:ln w="3175">
              <a:solidFill>
                <a:srgbClr val="AAAAAA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1" name="Straight Connector 270"/>
          <p:cNvCxnSpPr/>
          <p:nvPr/>
        </p:nvCxnSpPr>
        <p:spPr>
          <a:xfrm>
            <a:off x="8947549" y="4995925"/>
            <a:ext cx="1932292" cy="0"/>
          </a:xfrm>
          <a:prstGeom prst="line">
            <a:avLst/>
          </a:prstGeom>
          <a:ln>
            <a:solidFill>
              <a:srgbClr val="46B6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2" name="Group 271"/>
          <p:cNvGrpSpPr/>
          <p:nvPr/>
        </p:nvGrpSpPr>
        <p:grpSpPr>
          <a:xfrm>
            <a:off x="8989575" y="3009980"/>
            <a:ext cx="1870396" cy="1990064"/>
            <a:chOff x="7964167" y="3009980"/>
            <a:chExt cx="1870396" cy="1990064"/>
          </a:xfrm>
        </p:grpSpPr>
        <p:cxnSp>
          <p:nvCxnSpPr>
            <p:cNvPr id="291" name="Straight Connector 290"/>
            <p:cNvCxnSpPr/>
            <p:nvPr/>
          </p:nvCxnSpPr>
          <p:spPr>
            <a:xfrm>
              <a:off x="8899365" y="3009980"/>
              <a:ext cx="0" cy="252000"/>
            </a:xfrm>
            <a:prstGeom prst="line">
              <a:avLst/>
            </a:prstGeom>
            <a:ln>
              <a:solidFill>
                <a:srgbClr val="016AA3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/>
          </p:nvCxnSpPr>
          <p:spPr>
            <a:xfrm>
              <a:off x="8899365" y="4715526"/>
              <a:ext cx="0" cy="284518"/>
            </a:xfrm>
            <a:prstGeom prst="line">
              <a:avLst/>
            </a:prstGeom>
            <a:ln>
              <a:solidFill>
                <a:srgbClr val="46B688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3" name="Group 292"/>
            <p:cNvGrpSpPr/>
            <p:nvPr/>
          </p:nvGrpSpPr>
          <p:grpSpPr>
            <a:xfrm>
              <a:off x="7964167" y="4099059"/>
              <a:ext cx="1870396" cy="616467"/>
              <a:chOff x="7964167" y="4099059"/>
              <a:chExt cx="1870396" cy="616467"/>
            </a:xfrm>
          </p:grpSpPr>
          <p:sp>
            <p:nvSpPr>
              <p:cNvPr id="294" name="Rounded Rectangle 293"/>
              <p:cNvSpPr/>
              <p:nvPr/>
            </p:nvSpPr>
            <p:spPr>
              <a:xfrm>
                <a:off x="7964167" y="4099059"/>
                <a:ext cx="1870396" cy="616467"/>
              </a:xfrm>
              <a:prstGeom prst="roundRect">
                <a:avLst/>
              </a:prstGeom>
              <a:noFill/>
              <a:ln>
                <a:solidFill>
                  <a:srgbClr val="46B6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95" name="Group 294"/>
              <p:cNvGrpSpPr/>
              <p:nvPr/>
            </p:nvGrpSpPr>
            <p:grpSpPr>
              <a:xfrm>
                <a:off x="8189026" y="4337339"/>
                <a:ext cx="1420678" cy="350914"/>
                <a:chOff x="8189027" y="4337339"/>
                <a:chExt cx="1420678" cy="350914"/>
              </a:xfrm>
            </p:grpSpPr>
            <p:sp>
              <p:nvSpPr>
                <p:cNvPr id="299" name="TextBox 298"/>
                <p:cNvSpPr txBox="1"/>
                <p:nvPr/>
              </p:nvSpPr>
              <p:spPr>
                <a:xfrm>
                  <a:off x="8189027" y="4337339"/>
                  <a:ext cx="1420678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GENERAL MANAGER</a:t>
                  </a:r>
                </a:p>
              </p:txBody>
            </p:sp>
            <p:sp>
              <p:nvSpPr>
                <p:cNvPr id="300" name="TextBox 299"/>
                <p:cNvSpPr txBox="1"/>
                <p:nvPr/>
              </p:nvSpPr>
              <p:spPr>
                <a:xfrm>
                  <a:off x="8276712" y="4503587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</a:t>
                  </a:r>
                  <a:r>
                    <a:rPr lang="en-US" sz="1200" b="1" dirty="0" smtClean="0"/>
                    <a:t>NAME</a:t>
                  </a:r>
                </a:p>
              </p:txBody>
            </p:sp>
            <p:cxnSp>
              <p:nvCxnSpPr>
                <p:cNvPr id="301" name="Straight Connector 300"/>
                <p:cNvCxnSpPr/>
                <p:nvPr/>
              </p:nvCxnSpPr>
              <p:spPr>
                <a:xfrm>
                  <a:off x="8207550" y="4512796"/>
                  <a:ext cx="1383630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73" name="Group 272"/>
          <p:cNvGrpSpPr/>
          <p:nvPr/>
        </p:nvGrpSpPr>
        <p:grpSpPr>
          <a:xfrm>
            <a:off x="10143944" y="4995925"/>
            <a:ext cx="1471794" cy="1493775"/>
            <a:chOff x="8891406" y="4995925"/>
            <a:chExt cx="1471794" cy="1493775"/>
          </a:xfrm>
        </p:grpSpPr>
        <p:cxnSp>
          <p:nvCxnSpPr>
            <p:cNvPr id="283" name="Straight Connector 282"/>
            <p:cNvCxnSpPr/>
            <p:nvPr/>
          </p:nvCxnSpPr>
          <p:spPr>
            <a:xfrm>
              <a:off x="9627303" y="4995925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4" name="Group 283"/>
            <p:cNvGrpSpPr/>
            <p:nvPr/>
          </p:nvGrpSpPr>
          <p:grpSpPr>
            <a:xfrm>
              <a:off x="8891406" y="5873233"/>
              <a:ext cx="1471794" cy="616467"/>
              <a:chOff x="8891406" y="5873233"/>
              <a:chExt cx="1471794" cy="616467"/>
            </a:xfrm>
          </p:grpSpPr>
          <p:sp>
            <p:nvSpPr>
              <p:cNvPr id="285" name="Rounded Rectangle 284"/>
              <p:cNvSpPr/>
              <p:nvPr/>
            </p:nvSpPr>
            <p:spPr>
              <a:xfrm>
                <a:off x="8891406" y="5873233"/>
                <a:ext cx="1471794" cy="616467"/>
              </a:xfrm>
              <a:prstGeom prst="roundRect">
                <a:avLst/>
              </a:prstGeom>
              <a:noFill/>
              <a:ln>
                <a:solidFill>
                  <a:srgbClr val="FEA3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86" name="Group 285"/>
              <p:cNvGrpSpPr/>
              <p:nvPr/>
            </p:nvGrpSpPr>
            <p:grpSpPr>
              <a:xfrm>
                <a:off x="9004650" y="6090084"/>
                <a:ext cx="1245306" cy="350914"/>
                <a:chOff x="9004650" y="6111513"/>
                <a:chExt cx="1245306" cy="350914"/>
              </a:xfrm>
            </p:grpSpPr>
            <p:sp>
              <p:nvSpPr>
                <p:cNvPr id="288" name="TextBox 287"/>
                <p:cNvSpPr txBox="1"/>
                <p:nvPr/>
              </p:nvSpPr>
              <p:spPr>
                <a:xfrm>
                  <a:off x="9156970" y="6111513"/>
                  <a:ext cx="94066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MANAGER</a:t>
                  </a:r>
                </a:p>
              </p:txBody>
            </p:sp>
            <p:sp>
              <p:nvSpPr>
                <p:cNvPr id="289" name="TextBox 288"/>
                <p:cNvSpPr txBox="1"/>
                <p:nvPr/>
              </p:nvSpPr>
              <p:spPr>
                <a:xfrm>
                  <a:off x="9004650" y="6277761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NAME</a:t>
                  </a:r>
                </a:p>
              </p:txBody>
            </p:sp>
            <p:cxnSp>
              <p:nvCxnSpPr>
                <p:cNvPr id="290" name="Straight Connector 289"/>
                <p:cNvCxnSpPr/>
                <p:nvPr/>
              </p:nvCxnSpPr>
              <p:spPr>
                <a:xfrm>
                  <a:off x="9107532" y="6286970"/>
                  <a:ext cx="1039542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74" name="Group 273"/>
          <p:cNvGrpSpPr/>
          <p:nvPr/>
        </p:nvGrpSpPr>
        <p:grpSpPr>
          <a:xfrm>
            <a:off x="8233807" y="4995925"/>
            <a:ext cx="1471794" cy="1493775"/>
            <a:chOff x="8891406" y="4995925"/>
            <a:chExt cx="1471794" cy="1493775"/>
          </a:xfrm>
        </p:grpSpPr>
        <p:cxnSp>
          <p:nvCxnSpPr>
            <p:cNvPr id="275" name="Straight Connector 274"/>
            <p:cNvCxnSpPr/>
            <p:nvPr/>
          </p:nvCxnSpPr>
          <p:spPr>
            <a:xfrm>
              <a:off x="9627303" y="4995925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6" name="Group 275"/>
            <p:cNvGrpSpPr/>
            <p:nvPr/>
          </p:nvGrpSpPr>
          <p:grpSpPr>
            <a:xfrm>
              <a:off x="8891406" y="5873233"/>
              <a:ext cx="1471794" cy="616467"/>
              <a:chOff x="8891406" y="5873233"/>
              <a:chExt cx="1471794" cy="616467"/>
            </a:xfrm>
          </p:grpSpPr>
          <p:sp>
            <p:nvSpPr>
              <p:cNvPr id="277" name="Rounded Rectangle 276"/>
              <p:cNvSpPr/>
              <p:nvPr/>
            </p:nvSpPr>
            <p:spPr>
              <a:xfrm>
                <a:off x="8891406" y="5873233"/>
                <a:ext cx="1471794" cy="616467"/>
              </a:xfrm>
              <a:prstGeom prst="roundRect">
                <a:avLst/>
              </a:prstGeom>
              <a:noFill/>
              <a:ln>
                <a:solidFill>
                  <a:srgbClr val="FEA3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78" name="Group 277"/>
              <p:cNvGrpSpPr/>
              <p:nvPr/>
            </p:nvGrpSpPr>
            <p:grpSpPr>
              <a:xfrm>
                <a:off x="9004650" y="6090084"/>
                <a:ext cx="1245306" cy="350914"/>
                <a:chOff x="9004650" y="6111513"/>
                <a:chExt cx="1245306" cy="350914"/>
              </a:xfrm>
            </p:grpSpPr>
            <p:sp>
              <p:nvSpPr>
                <p:cNvPr id="280" name="TextBox 279"/>
                <p:cNvSpPr txBox="1"/>
                <p:nvPr/>
              </p:nvSpPr>
              <p:spPr>
                <a:xfrm>
                  <a:off x="9156970" y="6111513"/>
                  <a:ext cx="94066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MANAGER</a:t>
                  </a:r>
                </a:p>
              </p:txBody>
            </p:sp>
            <p:sp>
              <p:nvSpPr>
                <p:cNvPr id="281" name="TextBox 280"/>
                <p:cNvSpPr txBox="1"/>
                <p:nvPr/>
              </p:nvSpPr>
              <p:spPr>
                <a:xfrm>
                  <a:off x="9004650" y="6277761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NAME</a:t>
                  </a:r>
                </a:p>
              </p:txBody>
            </p:sp>
            <p:cxnSp>
              <p:nvCxnSpPr>
                <p:cNvPr id="282" name="Straight Connector 281"/>
                <p:cNvCxnSpPr/>
                <p:nvPr/>
              </p:nvCxnSpPr>
              <p:spPr>
                <a:xfrm>
                  <a:off x="9107532" y="6286970"/>
                  <a:ext cx="1039542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08" name="Straight Connector 207"/>
          <p:cNvCxnSpPr/>
          <p:nvPr/>
        </p:nvCxnSpPr>
        <p:spPr>
          <a:xfrm>
            <a:off x="5109951" y="4995925"/>
            <a:ext cx="1932292" cy="0"/>
          </a:xfrm>
          <a:prstGeom prst="line">
            <a:avLst/>
          </a:prstGeom>
          <a:ln>
            <a:solidFill>
              <a:srgbClr val="46B6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9" name="Group 208"/>
          <p:cNvGrpSpPr/>
          <p:nvPr/>
        </p:nvGrpSpPr>
        <p:grpSpPr>
          <a:xfrm>
            <a:off x="5151977" y="3009980"/>
            <a:ext cx="1870396" cy="1990064"/>
            <a:chOff x="7964167" y="3009980"/>
            <a:chExt cx="1870396" cy="1990064"/>
          </a:xfrm>
        </p:grpSpPr>
        <p:cxnSp>
          <p:nvCxnSpPr>
            <p:cNvPr id="262" name="Straight Connector 261"/>
            <p:cNvCxnSpPr/>
            <p:nvPr/>
          </p:nvCxnSpPr>
          <p:spPr>
            <a:xfrm>
              <a:off x="8899365" y="3009980"/>
              <a:ext cx="0" cy="252000"/>
            </a:xfrm>
            <a:prstGeom prst="line">
              <a:avLst/>
            </a:prstGeom>
            <a:ln>
              <a:solidFill>
                <a:srgbClr val="016AA3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/>
            <p:cNvCxnSpPr/>
            <p:nvPr/>
          </p:nvCxnSpPr>
          <p:spPr>
            <a:xfrm>
              <a:off x="8899365" y="4715526"/>
              <a:ext cx="0" cy="284518"/>
            </a:xfrm>
            <a:prstGeom prst="line">
              <a:avLst/>
            </a:prstGeom>
            <a:ln>
              <a:solidFill>
                <a:srgbClr val="46B688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4" name="Group 263"/>
            <p:cNvGrpSpPr/>
            <p:nvPr/>
          </p:nvGrpSpPr>
          <p:grpSpPr>
            <a:xfrm>
              <a:off x="7964167" y="4099059"/>
              <a:ext cx="1870396" cy="616467"/>
              <a:chOff x="7964167" y="4099059"/>
              <a:chExt cx="1870396" cy="616467"/>
            </a:xfrm>
          </p:grpSpPr>
          <p:sp>
            <p:nvSpPr>
              <p:cNvPr id="265" name="Rounded Rectangle 264"/>
              <p:cNvSpPr/>
              <p:nvPr/>
            </p:nvSpPr>
            <p:spPr>
              <a:xfrm>
                <a:off x="7964167" y="4099059"/>
                <a:ext cx="1870396" cy="616467"/>
              </a:xfrm>
              <a:prstGeom prst="roundRect">
                <a:avLst/>
              </a:prstGeom>
              <a:noFill/>
              <a:ln>
                <a:solidFill>
                  <a:srgbClr val="46B6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66" name="Group 265"/>
              <p:cNvGrpSpPr/>
              <p:nvPr/>
            </p:nvGrpSpPr>
            <p:grpSpPr>
              <a:xfrm>
                <a:off x="8189026" y="4337339"/>
                <a:ext cx="1420678" cy="350914"/>
                <a:chOff x="8189027" y="4337339"/>
                <a:chExt cx="1420678" cy="350914"/>
              </a:xfrm>
            </p:grpSpPr>
            <p:sp>
              <p:nvSpPr>
                <p:cNvPr id="268" name="TextBox 267"/>
                <p:cNvSpPr txBox="1"/>
                <p:nvPr/>
              </p:nvSpPr>
              <p:spPr>
                <a:xfrm>
                  <a:off x="8189027" y="4337339"/>
                  <a:ext cx="1420678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GENERAL MANAGER</a:t>
                  </a:r>
                </a:p>
              </p:txBody>
            </p:sp>
            <p:sp>
              <p:nvSpPr>
                <p:cNvPr id="269" name="TextBox 268"/>
                <p:cNvSpPr txBox="1"/>
                <p:nvPr/>
              </p:nvSpPr>
              <p:spPr>
                <a:xfrm>
                  <a:off x="8276712" y="4503587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</a:t>
                  </a:r>
                  <a:r>
                    <a:rPr lang="en-US" sz="1200" b="1" dirty="0" smtClean="0"/>
                    <a:t>NAME</a:t>
                  </a:r>
                </a:p>
              </p:txBody>
            </p:sp>
            <p:cxnSp>
              <p:nvCxnSpPr>
                <p:cNvPr id="270" name="Straight Connector 269"/>
                <p:cNvCxnSpPr/>
                <p:nvPr/>
              </p:nvCxnSpPr>
              <p:spPr>
                <a:xfrm>
                  <a:off x="8207550" y="4512796"/>
                  <a:ext cx="1383630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10" name="Group 209"/>
          <p:cNvGrpSpPr/>
          <p:nvPr/>
        </p:nvGrpSpPr>
        <p:grpSpPr>
          <a:xfrm>
            <a:off x="6306346" y="4995925"/>
            <a:ext cx="1471794" cy="1493775"/>
            <a:chOff x="8891406" y="4995925"/>
            <a:chExt cx="1471794" cy="1493775"/>
          </a:xfrm>
        </p:grpSpPr>
        <p:cxnSp>
          <p:nvCxnSpPr>
            <p:cNvPr id="250" name="Straight Connector 249"/>
            <p:cNvCxnSpPr/>
            <p:nvPr/>
          </p:nvCxnSpPr>
          <p:spPr>
            <a:xfrm>
              <a:off x="9627303" y="4995925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1" name="Group 250"/>
            <p:cNvGrpSpPr/>
            <p:nvPr/>
          </p:nvGrpSpPr>
          <p:grpSpPr>
            <a:xfrm>
              <a:off x="8891406" y="5873233"/>
              <a:ext cx="1471794" cy="616467"/>
              <a:chOff x="8891406" y="5873233"/>
              <a:chExt cx="1471794" cy="616467"/>
            </a:xfrm>
          </p:grpSpPr>
          <p:sp>
            <p:nvSpPr>
              <p:cNvPr id="252" name="Rounded Rectangle 251"/>
              <p:cNvSpPr/>
              <p:nvPr/>
            </p:nvSpPr>
            <p:spPr>
              <a:xfrm>
                <a:off x="8891406" y="5873233"/>
                <a:ext cx="1471794" cy="616467"/>
              </a:xfrm>
              <a:prstGeom prst="roundRect">
                <a:avLst/>
              </a:prstGeom>
              <a:noFill/>
              <a:ln>
                <a:solidFill>
                  <a:srgbClr val="FEA3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53" name="Group 252"/>
              <p:cNvGrpSpPr/>
              <p:nvPr/>
            </p:nvGrpSpPr>
            <p:grpSpPr>
              <a:xfrm>
                <a:off x="9004650" y="6090084"/>
                <a:ext cx="1245306" cy="350914"/>
                <a:chOff x="9004650" y="6111513"/>
                <a:chExt cx="1245306" cy="350914"/>
              </a:xfrm>
            </p:grpSpPr>
            <p:sp>
              <p:nvSpPr>
                <p:cNvPr id="259" name="TextBox 258"/>
                <p:cNvSpPr txBox="1"/>
                <p:nvPr/>
              </p:nvSpPr>
              <p:spPr>
                <a:xfrm>
                  <a:off x="9156970" y="6111513"/>
                  <a:ext cx="94066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MANAGER</a:t>
                  </a:r>
                </a:p>
              </p:txBody>
            </p:sp>
            <p:sp>
              <p:nvSpPr>
                <p:cNvPr id="260" name="TextBox 259"/>
                <p:cNvSpPr txBox="1"/>
                <p:nvPr/>
              </p:nvSpPr>
              <p:spPr>
                <a:xfrm>
                  <a:off x="9004650" y="6277761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NAME</a:t>
                  </a:r>
                </a:p>
              </p:txBody>
            </p:sp>
            <p:cxnSp>
              <p:nvCxnSpPr>
                <p:cNvPr id="261" name="Straight Connector 260"/>
                <p:cNvCxnSpPr/>
                <p:nvPr/>
              </p:nvCxnSpPr>
              <p:spPr>
                <a:xfrm>
                  <a:off x="9107532" y="6286970"/>
                  <a:ext cx="1039542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11" name="Group 210"/>
          <p:cNvGrpSpPr/>
          <p:nvPr/>
        </p:nvGrpSpPr>
        <p:grpSpPr>
          <a:xfrm>
            <a:off x="4396209" y="4995925"/>
            <a:ext cx="1471794" cy="1493775"/>
            <a:chOff x="8891406" y="4995925"/>
            <a:chExt cx="1471794" cy="1493775"/>
          </a:xfrm>
        </p:grpSpPr>
        <p:cxnSp>
          <p:nvCxnSpPr>
            <p:cNvPr id="242" name="Straight Connector 241"/>
            <p:cNvCxnSpPr/>
            <p:nvPr/>
          </p:nvCxnSpPr>
          <p:spPr>
            <a:xfrm>
              <a:off x="9627303" y="4995925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3" name="Group 242"/>
            <p:cNvGrpSpPr/>
            <p:nvPr/>
          </p:nvGrpSpPr>
          <p:grpSpPr>
            <a:xfrm>
              <a:off x="8891406" y="5873233"/>
              <a:ext cx="1471794" cy="616467"/>
              <a:chOff x="8891406" y="5873233"/>
              <a:chExt cx="1471794" cy="616467"/>
            </a:xfrm>
          </p:grpSpPr>
          <p:sp>
            <p:nvSpPr>
              <p:cNvPr id="244" name="Rounded Rectangle 243"/>
              <p:cNvSpPr/>
              <p:nvPr/>
            </p:nvSpPr>
            <p:spPr>
              <a:xfrm>
                <a:off x="8891406" y="5873233"/>
                <a:ext cx="1471794" cy="616467"/>
              </a:xfrm>
              <a:prstGeom prst="roundRect">
                <a:avLst/>
              </a:prstGeom>
              <a:noFill/>
              <a:ln>
                <a:solidFill>
                  <a:srgbClr val="FEA3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45" name="Group 244"/>
              <p:cNvGrpSpPr/>
              <p:nvPr/>
            </p:nvGrpSpPr>
            <p:grpSpPr>
              <a:xfrm>
                <a:off x="9004650" y="6090084"/>
                <a:ext cx="1245306" cy="350914"/>
                <a:chOff x="9004650" y="6111513"/>
                <a:chExt cx="1245306" cy="350914"/>
              </a:xfrm>
            </p:grpSpPr>
            <p:sp>
              <p:nvSpPr>
                <p:cNvPr id="247" name="TextBox 246"/>
                <p:cNvSpPr txBox="1"/>
                <p:nvPr/>
              </p:nvSpPr>
              <p:spPr>
                <a:xfrm>
                  <a:off x="9156970" y="6111513"/>
                  <a:ext cx="94066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MANAGER</a:t>
                  </a:r>
                </a:p>
              </p:txBody>
            </p:sp>
            <p:sp>
              <p:nvSpPr>
                <p:cNvPr id="248" name="TextBox 247"/>
                <p:cNvSpPr txBox="1"/>
                <p:nvPr/>
              </p:nvSpPr>
              <p:spPr>
                <a:xfrm>
                  <a:off x="9004650" y="6277761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NAME</a:t>
                  </a:r>
                </a:p>
              </p:txBody>
            </p:sp>
            <p:cxnSp>
              <p:nvCxnSpPr>
                <p:cNvPr id="249" name="Straight Connector 248"/>
                <p:cNvCxnSpPr/>
                <p:nvPr/>
              </p:nvCxnSpPr>
              <p:spPr>
                <a:xfrm>
                  <a:off x="9107532" y="6286970"/>
                  <a:ext cx="1039542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13" name="Straight Connector 212"/>
          <p:cNvCxnSpPr/>
          <p:nvPr/>
        </p:nvCxnSpPr>
        <p:spPr>
          <a:xfrm>
            <a:off x="1272353" y="4995925"/>
            <a:ext cx="1932292" cy="0"/>
          </a:xfrm>
          <a:prstGeom prst="line">
            <a:avLst/>
          </a:prstGeom>
          <a:ln>
            <a:solidFill>
              <a:srgbClr val="46B6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" name="Group 213"/>
          <p:cNvGrpSpPr/>
          <p:nvPr/>
        </p:nvGrpSpPr>
        <p:grpSpPr>
          <a:xfrm>
            <a:off x="1314379" y="3009980"/>
            <a:ext cx="1870396" cy="1990064"/>
            <a:chOff x="7964167" y="3009980"/>
            <a:chExt cx="1870396" cy="1990064"/>
          </a:xfrm>
        </p:grpSpPr>
        <p:cxnSp>
          <p:nvCxnSpPr>
            <p:cNvPr id="233" name="Straight Connector 232"/>
            <p:cNvCxnSpPr/>
            <p:nvPr/>
          </p:nvCxnSpPr>
          <p:spPr>
            <a:xfrm>
              <a:off x="8899365" y="3009980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/>
            <p:nvPr/>
          </p:nvCxnSpPr>
          <p:spPr>
            <a:xfrm>
              <a:off x="8899365" y="4715526"/>
              <a:ext cx="0" cy="284518"/>
            </a:xfrm>
            <a:prstGeom prst="line">
              <a:avLst/>
            </a:prstGeom>
            <a:ln>
              <a:solidFill>
                <a:srgbClr val="46B688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5" name="Group 234"/>
            <p:cNvGrpSpPr/>
            <p:nvPr/>
          </p:nvGrpSpPr>
          <p:grpSpPr>
            <a:xfrm>
              <a:off x="7964167" y="4099059"/>
              <a:ext cx="1870396" cy="616467"/>
              <a:chOff x="7964167" y="4099059"/>
              <a:chExt cx="1870396" cy="616467"/>
            </a:xfrm>
          </p:grpSpPr>
          <p:sp>
            <p:nvSpPr>
              <p:cNvPr id="236" name="Rounded Rectangle 235"/>
              <p:cNvSpPr/>
              <p:nvPr/>
            </p:nvSpPr>
            <p:spPr>
              <a:xfrm>
                <a:off x="7964167" y="4099059"/>
                <a:ext cx="1870396" cy="616467"/>
              </a:xfrm>
              <a:prstGeom prst="roundRect">
                <a:avLst/>
              </a:prstGeom>
              <a:noFill/>
              <a:ln>
                <a:solidFill>
                  <a:srgbClr val="46B6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7" name="Group 236"/>
              <p:cNvGrpSpPr/>
              <p:nvPr/>
            </p:nvGrpSpPr>
            <p:grpSpPr>
              <a:xfrm>
                <a:off x="8189026" y="4337339"/>
                <a:ext cx="1420678" cy="350914"/>
                <a:chOff x="8189027" y="4337339"/>
                <a:chExt cx="1420678" cy="350914"/>
              </a:xfrm>
            </p:grpSpPr>
            <p:sp>
              <p:nvSpPr>
                <p:cNvPr id="239" name="TextBox 238"/>
                <p:cNvSpPr txBox="1"/>
                <p:nvPr/>
              </p:nvSpPr>
              <p:spPr>
                <a:xfrm>
                  <a:off x="8189027" y="4337339"/>
                  <a:ext cx="1420678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GENERAL MANAGER</a:t>
                  </a:r>
                </a:p>
              </p:txBody>
            </p:sp>
            <p:sp>
              <p:nvSpPr>
                <p:cNvPr id="240" name="TextBox 239"/>
                <p:cNvSpPr txBox="1"/>
                <p:nvPr/>
              </p:nvSpPr>
              <p:spPr>
                <a:xfrm>
                  <a:off x="8276712" y="4503587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</a:t>
                  </a:r>
                  <a:r>
                    <a:rPr lang="en-US" sz="1200" b="1" dirty="0" smtClean="0"/>
                    <a:t>NAME</a:t>
                  </a:r>
                </a:p>
              </p:txBody>
            </p:sp>
            <p:cxnSp>
              <p:nvCxnSpPr>
                <p:cNvPr id="241" name="Straight Connector 240"/>
                <p:cNvCxnSpPr/>
                <p:nvPr/>
              </p:nvCxnSpPr>
              <p:spPr>
                <a:xfrm>
                  <a:off x="8207550" y="4512796"/>
                  <a:ext cx="1383630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15" name="Group 214"/>
          <p:cNvGrpSpPr/>
          <p:nvPr/>
        </p:nvGrpSpPr>
        <p:grpSpPr>
          <a:xfrm>
            <a:off x="2468748" y="4995925"/>
            <a:ext cx="1471794" cy="1493775"/>
            <a:chOff x="8891406" y="4995925"/>
            <a:chExt cx="1471794" cy="1493775"/>
          </a:xfrm>
        </p:grpSpPr>
        <p:cxnSp>
          <p:nvCxnSpPr>
            <p:cNvPr id="225" name="Straight Connector 224"/>
            <p:cNvCxnSpPr/>
            <p:nvPr/>
          </p:nvCxnSpPr>
          <p:spPr>
            <a:xfrm>
              <a:off x="9627303" y="4995925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6" name="Group 225"/>
            <p:cNvGrpSpPr/>
            <p:nvPr/>
          </p:nvGrpSpPr>
          <p:grpSpPr>
            <a:xfrm>
              <a:off x="8891406" y="5873233"/>
              <a:ext cx="1471794" cy="616467"/>
              <a:chOff x="8891406" y="5873233"/>
              <a:chExt cx="1471794" cy="616467"/>
            </a:xfrm>
          </p:grpSpPr>
          <p:sp>
            <p:nvSpPr>
              <p:cNvPr id="227" name="Rounded Rectangle 226"/>
              <p:cNvSpPr/>
              <p:nvPr/>
            </p:nvSpPr>
            <p:spPr>
              <a:xfrm>
                <a:off x="8891406" y="5873233"/>
                <a:ext cx="1471794" cy="616467"/>
              </a:xfrm>
              <a:prstGeom prst="roundRect">
                <a:avLst/>
              </a:prstGeom>
              <a:noFill/>
              <a:ln>
                <a:solidFill>
                  <a:srgbClr val="FEA3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28" name="Group 227"/>
              <p:cNvGrpSpPr/>
              <p:nvPr/>
            </p:nvGrpSpPr>
            <p:grpSpPr>
              <a:xfrm>
                <a:off x="9004650" y="6090084"/>
                <a:ext cx="1245306" cy="350914"/>
                <a:chOff x="9004650" y="6111513"/>
                <a:chExt cx="1245306" cy="350914"/>
              </a:xfrm>
            </p:grpSpPr>
            <p:sp>
              <p:nvSpPr>
                <p:cNvPr id="230" name="TextBox 229"/>
                <p:cNvSpPr txBox="1"/>
                <p:nvPr/>
              </p:nvSpPr>
              <p:spPr>
                <a:xfrm>
                  <a:off x="9156970" y="6111513"/>
                  <a:ext cx="94066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MANAGER</a:t>
                  </a:r>
                </a:p>
              </p:txBody>
            </p:sp>
            <p:sp>
              <p:nvSpPr>
                <p:cNvPr id="231" name="TextBox 230"/>
                <p:cNvSpPr txBox="1"/>
                <p:nvPr/>
              </p:nvSpPr>
              <p:spPr>
                <a:xfrm>
                  <a:off x="9004650" y="6277761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NAME</a:t>
                  </a:r>
                </a:p>
              </p:txBody>
            </p:sp>
            <p:cxnSp>
              <p:nvCxnSpPr>
                <p:cNvPr id="232" name="Straight Connector 231"/>
                <p:cNvCxnSpPr/>
                <p:nvPr/>
              </p:nvCxnSpPr>
              <p:spPr>
                <a:xfrm>
                  <a:off x="9107532" y="6286970"/>
                  <a:ext cx="1039542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16" name="Group 215"/>
          <p:cNvGrpSpPr/>
          <p:nvPr/>
        </p:nvGrpSpPr>
        <p:grpSpPr>
          <a:xfrm>
            <a:off x="558611" y="4995925"/>
            <a:ext cx="1471794" cy="1493775"/>
            <a:chOff x="8891406" y="4995925"/>
            <a:chExt cx="1471794" cy="1493775"/>
          </a:xfrm>
        </p:grpSpPr>
        <p:cxnSp>
          <p:nvCxnSpPr>
            <p:cNvPr id="217" name="Straight Connector 216"/>
            <p:cNvCxnSpPr/>
            <p:nvPr/>
          </p:nvCxnSpPr>
          <p:spPr>
            <a:xfrm>
              <a:off x="9627303" y="4995925"/>
              <a:ext cx="0" cy="252000"/>
            </a:xfrm>
            <a:prstGeom prst="line">
              <a:avLst/>
            </a:prstGeom>
            <a:ln>
              <a:solidFill>
                <a:srgbClr val="46B688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8" name="Group 217"/>
            <p:cNvGrpSpPr/>
            <p:nvPr/>
          </p:nvGrpSpPr>
          <p:grpSpPr>
            <a:xfrm>
              <a:off x="8891406" y="5873233"/>
              <a:ext cx="1471794" cy="616467"/>
              <a:chOff x="8891406" y="5873233"/>
              <a:chExt cx="1471794" cy="616467"/>
            </a:xfrm>
          </p:grpSpPr>
          <p:sp>
            <p:nvSpPr>
              <p:cNvPr id="219" name="Rounded Rectangle 218"/>
              <p:cNvSpPr/>
              <p:nvPr/>
            </p:nvSpPr>
            <p:spPr>
              <a:xfrm>
                <a:off x="8891406" y="5873233"/>
                <a:ext cx="1471794" cy="616467"/>
              </a:xfrm>
              <a:prstGeom prst="roundRect">
                <a:avLst/>
              </a:prstGeom>
              <a:noFill/>
              <a:ln>
                <a:solidFill>
                  <a:srgbClr val="FEA3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20" name="Group 219"/>
              <p:cNvGrpSpPr/>
              <p:nvPr/>
            </p:nvGrpSpPr>
            <p:grpSpPr>
              <a:xfrm>
                <a:off x="9004650" y="6090084"/>
                <a:ext cx="1245306" cy="350914"/>
                <a:chOff x="9004650" y="6111513"/>
                <a:chExt cx="1245306" cy="350914"/>
              </a:xfrm>
            </p:grpSpPr>
            <p:sp>
              <p:nvSpPr>
                <p:cNvPr id="222" name="TextBox 221"/>
                <p:cNvSpPr txBox="1"/>
                <p:nvPr/>
              </p:nvSpPr>
              <p:spPr>
                <a:xfrm>
                  <a:off x="9156970" y="6111513"/>
                  <a:ext cx="94066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b="1" dirty="0" smtClean="0"/>
                    <a:t>MANAGER</a:t>
                  </a:r>
                </a:p>
              </p:txBody>
            </p:sp>
            <p:sp>
              <p:nvSpPr>
                <p:cNvPr id="223" name="TextBox 222"/>
                <p:cNvSpPr txBox="1"/>
                <p:nvPr/>
              </p:nvSpPr>
              <p:spPr>
                <a:xfrm>
                  <a:off x="9004650" y="6277761"/>
                  <a:ext cx="1245306" cy="184666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 smtClean="0"/>
                    <a:t>MEMBER NAME</a:t>
                  </a:r>
                </a:p>
              </p:txBody>
            </p:sp>
            <p:cxnSp>
              <p:nvCxnSpPr>
                <p:cNvPr id="224" name="Straight Connector 223"/>
                <p:cNvCxnSpPr/>
                <p:nvPr/>
              </p:nvCxnSpPr>
              <p:spPr>
                <a:xfrm>
                  <a:off x="9107532" y="6286970"/>
                  <a:ext cx="1039542" cy="0"/>
                </a:xfrm>
                <a:prstGeom prst="line">
                  <a:avLst/>
                </a:prstGeom>
                <a:ln w="3175">
                  <a:solidFill>
                    <a:srgbClr val="AAAAAA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39" name="Picture Placeholder 38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5" r="16505"/>
          <a:stretch>
            <a:fillRect/>
          </a:stretch>
        </p:blipFill>
        <p:spPr>
          <a:ln w="12700"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0" name="Picture Placeholder 39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6" r="16716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1" name="Picture Placeholder 40"/>
          <p:cNvPicPr>
            <a:picLocks noGrp="1" noChangeAspect="1"/>
          </p:cNvPicPr>
          <p:nvPr>
            <p:ph type="pic" sz="quarter" idx="1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2" r="17052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2" name="Picture Placeholder 41"/>
          <p:cNvPicPr>
            <a:picLocks noGrp="1" noChangeAspect="1"/>
          </p:cNvPicPr>
          <p:nvPr>
            <p:ph type="pic" sz="quarter" idx="13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6" r="16716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3" name="Picture Placeholder 42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53" r="16853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4" name="Picture Placeholder 43"/>
          <p:cNvPicPr>
            <a:picLocks noGrp="1" noChangeAspect="1"/>
          </p:cNvPicPr>
          <p:nvPr>
            <p:ph type="pic" sz="quarter" idx="15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2" r="16652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5" name="Picture Placeholder 44"/>
          <p:cNvPicPr>
            <a:picLocks noGrp="1" noChangeAspect="1"/>
          </p:cNvPicPr>
          <p:nvPr>
            <p:ph type="pic" sz="quarter" idx="16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01" b="16601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6" name="Picture Placeholder 45"/>
          <p:cNvPicPr>
            <a:picLocks noGrp="1" noChangeAspect="1"/>
          </p:cNvPicPr>
          <p:nvPr>
            <p:ph type="pic" sz="quarter" idx="17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7" name="Picture Placeholder 46"/>
          <p:cNvPicPr>
            <a:picLocks noGrp="1" noChangeAspect="1"/>
          </p:cNvPicPr>
          <p:nvPr>
            <p:ph type="pic" sz="quarter" idx="18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8" r="16758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8" name="Picture Placeholder 47"/>
          <p:cNvPicPr>
            <a:picLocks noGrp="1" noChangeAspect="1"/>
          </p:cNvPicPr>
          <p:nvPr>
            <p:ph type="pic" sz="quarter" idx="19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40" r="16740"/>
          <a:stretch>
            <a:fillRect/>
          </a:stretch>
        </p:blipFill>
        <p:spPr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</p:pic>
      <p:sp>
        <p:nvSpPr>
          <p:cNvPr id="360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ORGANIZATIONAL CHART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812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2" name="Group 401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403" name="Parallelogram 40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Parallelogram 405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Parallelogram 406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0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GANTT CHART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1" y="1941783"/>
            <a:ext cx="12192000" cy="38423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9"/>
          <p:cNvSpPr>
            <a:spLocks noChangeArrowheads="1"/>
          </p:cNvSpPr>
          <p:nvPr/>
        </p:nvSpPr>
        <p:spPr bwMode="auto">
          <a:xfrm>
            <a:off x="865052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2</a:t>
            </a:r>
          </a:p>
          <a:p>
            <a:pPr algn="ctr"/>
            <a:r>
              <a:rPr lang="en-US" sz="1200" b="1" dirty="0"/>
              <a:t>Jan 01</a:t>
            </a:r>
          </a:p>
        </p:txBody>
      </p:sp>
      <p:sp>
        <p:nvSpPr>
          <p:cNvPr id="130" name="Rectangle 9"/>
          <p:cNvSpPr>
            <a:spLocks noChangeArrowheads="1"/>
          </p:cNvSpPr>
          <p:nvPr/>
        </p:nvSpPr>
        <p:spPr bwMode="auto">
          <a:xfrm>
            <a:off x="2053811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3</a:t>
            </a:r>
          </a:p>
          <a:p>
            <a:pPr algn="ctr"/>
            <a:r>
              <a:rPr lang="en-US" sz="1200" b="1" dirty="0"/>
              <a:t>Jan 15</a:t>
            </a:r>
          </a:p>
        </p:txBody>
      </p:sp>
      <p:sp>
        <p:nvSpPr>
          <p:cNvPr id="131" name="Rectangle 9"/>
          <p:cNvSpPr>
            <a:spLocks noChangeArrowheads="1"/>
          </p:cNvSpPr>
          <p:nvPr/>
        </p:nvSpPr>
        <p:spPr bwMode="auto">
          <a:xfrm>
            <a:off x="3242569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4</a:t>
            </a:r>
          </a:p>
          <a:p>
            <a:pPr algn="ctr"/>
            <a:r>
              <a:rPr lang="en-US" sz="1200" b="1" dirty="0"/>
              <a:t>Jan 29</a:t>
            </a:r>
          </a:p>
        </p:txBody>
      </p:sp>
      <p:sp>
        <p:nvSpPr>
          <p:cNvPr id="132" name="Rectangle 9"/>
          <p:cNvSpPr>
            <a:spLocks noChangeArrowheads="1"/>
          </p:cNvSpPr>
          <p:nvPr/>
        </p:nvSpPr>
        <p:spPr bwMode="auto">
          <a:xfrm>
            <a:off x="4431328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5</a:t>
            </a:r>
          </a:p>
          <a:p>
            <a:pPr algn="ctr"/>
            <a:r>
              <a:rPr lang="en-US" sz="1200" b="1" dirty="0"/>
              <a:t>Feb 12</a:t>
            </a:r>
          </a:p>
        </p:txBody>
      </p:sp>
      <p:sp>
        <p:nvSpPr>
          <p:cNvPr id="133" name="Rectangle 9"/>
          <p:cNvSpPr>
            <a:spLocks noChangeArrowheads="1"/>
          </p:cNvSpPr>
          <p:nvPr/>
        </p:nvSpPr>
        <p:spPr bwMode="auto">
          <a:xfrm>
            <a:off x="5620087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6</a:t>
            </a:r>
          </a:p>
          <a:p>
            <a:pPr algn="ctr"/>
            <a:r>
              <a:rPr lang="en-US" sz="1200" b="1" dirty="0"/>
              <a:t>Feb 26</a:t>
            </a:r>
          </a:p>
        </p:txBody>
      </p:sp>
      <p:sp>
        <p:nvSpPr>
          <p:cNvPr id="134" name="Rectangle 9"/>
          <p:cNvSpPr>
            <a:spLocks noChangeArrowheads="1"/>
          </p:cNvSpPr>
          <p:nvPr/>
        </p:nvSpPr>
        <p:spPr bwMode="auto">
          <a:xfrm>
            <a:off x="6808846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7</a:t>
            </a:r>
          </a:p>
          <a:p>
            <a:pPr algn="ctr"/>
            <a:r>
              <a:rPr lang="en-US" sz="1200" b="1" dirty="0"/>
              <a:t>Mar 11</a:t>
            </a:r>
          </a:p>
        </p:txBody>
      </p:sp>
      <p:sp>
        <p:nvSpPr>
          <p:cNvPr id="135" name="Rectangle 9"/>
          <p:cNvSpPr>
            <a:spLocks noChangeArrowheads="1"/>
          </p:cNvSpPr>
          <p:nvPr/>
        </p:nvSpPr>
        <p:spPr bwMode="auto">
          <a:xfrm>
            <a:off x="7997605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8</a:t>
            </a:r>
          </a:p>
          <a:p>
            <a:pPr algn="ctr"/>
            <a:r>
              <a:rPr lang="en-US" sz="1200" b="1" dirty="0"/>
              <a:t>Mar 25</a:t>
            </a:r>
          </a:p>
        </p:txBody>
      </p:sp>
      <p:sp>
        <p:nvSpPr>
          <p:cNvPr id="136" name="Rectangle 9"/>
          <p:cNvSpPr>
            <a:spLocks noChangeArrowheads="1"/>
          </p:cNvSpPr>
          <p:nvPr/>
        </p:nvSpPr>
        <p:spPr bwMode="auto">
          <a:xfrm>
            <a:off x="9186363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19</a:t>
            </a:r>
          </a:p>
          <a:p>
            <a:pPr algn="ctr"/>
            <a:r>
              <a:rPr lang="en-US" sz="1200" b="1" dirty="0"/>
              <a:t>Apr 08</a:t>
            </a:r>
          </a:p>
        </p:txBody>
      </p:sp>
      <p:sp>
        <p:nvSpPr>
          <p:cNvPr id="137" name="Rectangle 9"/>
          <p:cNvSpPr>
            <a:spLocks noChangeArrowheads="1"/>
          </p:cNvSpPr>
          <p:nvPr/>
        </p:nvSpPr>
        <p:spPr bwMode="auto">
          <a:xfrm>
            <a:off x="10375125" y="2155231"/>
            <a:ext cx="967864" cy="352215"/>
          </a:xfrm>
          <a:prstGeom prst="roundRect">
            <a:avLst/>
          </a:prstGeom>
          <a:solidFill>
            <a:schemeClr val="bg1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/>
              <a:t>Sprint 20</a:t>
            </a:r>
          </a:p>
          <a:p>
            <a:pPr algn="ctr"/>
            <a:r>
              <a:rPr lang="en-US" sz="1200" b="1" dirty="0"/>
              <a:t>Apr 22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1241899" y="2707369"/>
            <a:ext cx="811912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FEATURES</a:t>
            </a:r>
            <a:endParaRPr lang="en-US" sz="1200" dirty="0"/>
          </a:p>
        </p:txBody>
      </p:sp>
      <p:cxnSp>
        <p:nvCxnSpPr>
          <p:cNvPr id="139" name="Straight Connector 138"/>
          <p:cNvCxnSpPr/>
          <p:nvPr/>
        </p:nvCxnSpPr>
        <p:spPr>
          <a:xfrm rot="5400000">
            <a:off x="1084935" y="2784065"/>
            <a:ext cx="170235" cy="0"/>
          </a:xfrm>
          <a:prstGeom prst="line">
            <a:avLst/>
          </a:prstGeom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0" name="Group 139"/>
          <p:cNvGrpSpPr/>
          <p:nvPr/>
        </p:nvGrpSpPr>
        <p:grpSpPr>
          <a:xfrm>
            <a:off x="865052" y="3028072"/>
            <a:ext cx="10473442" cy="147540"/>
            <a:chOff x="538542" y="1720205"/>
            <a:chExt cx="8063456" cy="287512"/>
          </a:xfrm>
        </p:grpSpPr>
        <p:sp>
          <p:nvSpPr>
            <p:cNvPr id="141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2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3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4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5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6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7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8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9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0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1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2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3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4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5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6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7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8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9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0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1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2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3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4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5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6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7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8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9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865052" y="3239225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171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2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3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4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5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6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7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8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9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0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1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2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3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4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5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6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7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8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89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0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1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2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3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4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5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6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7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8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99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200" name="Group 199"/>
          <p:cNvGrpSpPr/>
          <p:nvPr/>
        </p:nvGrpSpPr>
        <p:grpSpPr>
          <a:xfrm>
            <a:off x="865052" y="3450379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201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05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07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12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21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29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38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46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54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55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56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57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58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67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79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87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96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97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98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2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3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4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5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6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8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09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10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11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12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313" name="Group 312"/>
          <p:cNvGrpSpPr/>
          <p:nvPr/>
        </p:nvGrpSpPr>
        <p:grpSpPr>
          <a:xfrm>
            <a:off x="865052" y="4116563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314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17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18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19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20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21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26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27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28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29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0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1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2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3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4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5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6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7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8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39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0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1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2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3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4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5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6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7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48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349" name="Group 348"/>
          <p:cNvGrpSpPr/>
          <p:nvPr/>
        </p:nvGrpSpPr>
        <p:grpSpPr>
          <a:xfrm>
            <a:off x="865052" y="4327716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350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1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2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3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4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5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6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7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8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59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1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3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5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7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8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69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0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1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2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3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4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5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6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7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8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79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sp>
        <p:nvSpPr>
          <p:cNvPr id="380" name="TextBox 379"/>
          <p:cNvSpPr txBox="1"/>
          <p:nvPr/>
        </p:nvSpPr>
        <p:spPr>
          <a:xfrm>
            <a:off x="1241899" y="3820282"/>
            <a:ext cx="1243492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OPERATIONS</a:t>
            </a:r>
            <a:endParaRPr lang="en-US" sz="1200" dirty="0"/>
          </a:p>
        </p:txBody>
      </p:sp>
      <p:cxnSp>
        <p:nvCxnSpPr>
          <p:cNvPr id="381" name="Straight Connector 380"/>
          <p:cNvCxnSpPr/>
          <p:nvPr/>
        </p:nvCxnSpPr>
        <p:spPr>
          <a:xfrm rot="5400000">
            <a:off x="1084935" y="3896978"/>
            <a:ext cx="170235" cy="0"/>
          </a:xfrm>
          <a:prstGeom prst="line">
            <a:avLst/>
          </a:prstGeom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2" name="Group 381"/>
          <p:cNvGrpSpPr/>
          <p:nvPr/>
        </p:nvGrpSpPr>
        <p:grpSpPr>
          <a:xfrm>
            <a:off x="865052" y="4993900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383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84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85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86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87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88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89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0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1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2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3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4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5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6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7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8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399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00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01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04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solidFill>
              <a:srgbClr val="016AA3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05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08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09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0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1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2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3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4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5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416" name="Group 415"/>
          <p:cNvGrpSpPr/>
          <p:nvPr/>
        </p:nvGrpSpPr>
        <p:grpSpPr>
          <a:xfrm>
            <a:off x="865052" y="5205053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417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8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9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0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1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2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3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4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5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6" name="Rectangle 9"/>
            <p:cNvSpPr>
              <a:spLocks noChangeArrowheads="1"/>
            </p:cNvSpPr>
            <p:nvPr/>
          </p:nvSpPr>
          <p:spPr bwMode="auto">
            <a:xfrm>
              <a:off x="2782086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7" name="Rectangle 9"/>
            <p:cNvSpPr>
              <a:spLocks noChangeArrowheads="1"/>
            </p:cNvSpPr>
            <p:nvPr/>
          </p:nvSpPr>
          <p:spPr bwMode="auto">
            <a:xfrm>
              <a:off x="3055936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8" name="Rectangle 9"/>
            <p:cNvSpPr>
              <a:spLocks noChangeArrowheads="1"/>
            </p:cNvSpPr>
            <p:nvPr/>
          </p:nvSpPr>
          <p:spPr bwMode="auto">
            <a:xfrm>
              <a:off x="3335813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9" name="Rectangle 9"/>
            <p:cNvSpPr>
              <a:spLocks noChangeArrowheads="1"/>
            </p:cNvSpPr>
            <p:nvPr/>
          </p:nvSpPr>
          <p:spPr bwMode="auto">
            <a:xfrm>
              <a:off x="3615690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0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1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2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3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4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5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6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solidFill>
              <a:srgbClr val="46B688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7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8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39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0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1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2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3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4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5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446" name="Group 445"/>
          <p:cNvGrpSpPr/>
          <p:nvPr/>
        </p:nvGrpSpPr>
        <p:grpSpPr>
          <a:xfrm>
            <a:off x="865052" y="5416207"/>
            <a:ext cx="10473442" cy="147540"/>
            <a:chOff x="538542" y="1720205"/>
            <a:chExt cx="8063456" cy="287512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447" name="Rectangle 9"/>
            <p:cNvSpPr>
              <a:spLocks noChangeArrowheads="1"/>
            </p:cNvSpPr>
            <p:nvPr/>
          </p:nvSpPr>
          <p:spPr bwMode="auto">
            <a:xfrm>
              <a:off x="53854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8" name="Rectangle 9"/>
            <p:cNvSpPr>
              <a:spLocks noChangeArrowheads="1"/>
            </p:cNvSpPr>
            <p:nvPr/>
          </p:nvSpPr>
          <p:spPr bwMode="auto">
            <a:xfrm>
              <a:off x="6975828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49" name="Rectangle 9"/>
            <p:cNvSpPr>
              <a:spLocks noChangeArrowheads="1"/>
            </p:cNvSpPr>
            <p:nvPr/>
          </p:nvSpPr>
          <p:spPr bwMode="auto">
            <a:xfrm>
              <a:off x="81842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0" name="Rectangle 9"/>
            <p:cNvSpPr>
              <a:spLocks noChangeArrowheads="1"/>
            </p:cNvSpPr>
            <p:nvPr/>
          </p:nvSpPr>
          <p:spPr bwMode="auto">
            <a:xfrm>
              <a:off x="109830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1" name="Rectangle 9"/>
            <p:cNvSpPr>
              <a:spLocks noChangeArrowheads="1"/>
            </p:cNvSpPr>
            <p:nvPr/>
          </p:nvSpPr>
          <p:spPr bwMode="auto">
            <a:xfrm>
              <a:off x="137818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2" name="Rectangle 9"/>
            <p:cNvSpPr>
              <a:spLocks noChangeArrowheads="1"/>
            </p:cNvSpPr>
            <p:nvPr/>
          </p:nvSpPr>
          <p:spPr bwMode="auto">
            <a:xfrm>
              <a:off x="165807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3" name="Rectangle 9"/>
            <p:cNvSpPr>
              <a:spLocks noChangeArrowheads="1"/>
            </p:cNvSpPr>
            <p:nvPr/>
          </p:nvSpPr>
          <p:spPr bwMode="auto">
            <a:xfrm>
              <a:off x="193795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4" name="Rectangle 9"/>
            <p:cNvSpPr>
              <a:spLocks noChangeArrowheads="1"/>
            </p:cNvSpPr>
            <p:nvPr/>
          </p:nvSpPr>
          <p:spPr bwMode="auto">
            <a:xfrm>
              <a:off x="221783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5" name="Rectangle 9"/>
            <p:cNvSpPr>
              <a:spLocks noChangeArrowheads="1"/>
            </p:cNvSpPr>
            <p:nvPr/>
          </p:nvSpPr>
          <p:spPr bwMode="auto">
            <a:xfrm>
              <a:off x="249771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6" name="Rectangle 9"/>
            <p:cNvSpPr>
              <a:spLocks noChangeArrowheads="1"/>
            </p:cNvSpPr>
            <p:nvPr/>
          </p:nvSpPr>
          <p:spPr bwMode="auto">
            <a:xfrm>
              <a:off x="2777598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7" name="Rectangle 9"/>
            <p:cNvSpPr>
              <a:spLocks noChangeArrowheads="1"/>
            </p:cNvSpPr>
            <p:nvPr/>
          </p:nvSpPr>
          <p:spPr bwMode="auto">
            <a:xfrm>
              <a:off x="3057480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8" name="Rectangle 9"/>
            <p:cNvSpPr>
              <a:spLocks noChangeArrowheads="1"/>
            </p:cNvSpPr>
            <p:nvPr/>
          </p:nvSpPr>
          <p:spPr bwMode="auto">
            <a:xfrm>
              <a:off x="3337362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9" name="Rectangle 9"/>
            <p:cNvSpPr>
              <a:spLocks noChangeArrowheads="1"/>
            </p:cNvSpPr>
            <p:nvPr/>
          </p:nvSpPr>
          <p:spPr bwMode="auto">
            <a:xfrm>
              <a:off x="361724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0" name="Rectangle 9"/>
            <p:cNvSpPr>
              <a:spLocks noChangeArrowheads="1"/>
            </p:cNvSpPr>
            <p:nvPr/>
          </p:nvSpPr>
          <p:spPr bwMode="auto">
            <a:xfrm>
              <a:off x="389712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1" name="Rectangle 9"/>
            <p:cNvSpPr>
              <a:spLocks noChangeArrowheads="1"/>
            </p:cNvSpPr>
            <p:nvPr/>
          </p:nvSpPr>
          <p:spPr bwMode="auto">
            <a:xfrm>
              <a:off x="4177008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2" name="Rectangle 9"/>
            <p:cNvSpPr>
              <a:spLocks noChangeArrowheads="1"/>
            </p:cNvSpPr>
            <p:nvPr/>
          </p:nvSpPr>
          <p:spPr bwMode="auto">
            <a:xfrm>
              <a:off x="445689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3" name="Rectangle 9"/>
            <p:cNvSpPr>
              <a:spLocks noChangeArrowheads="1"/>
            </p:cNvSpPr>
            <p:nvPr/>
          </p:nvSpPr>
          <p:spPr bwMode="auto">
            <a:xfrm>
              <a:off x="473677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4" name="Rectangle 9"/>
            <p:cNvSpPr>
              <a:spLocks noChangeArrowheads="1"/>
            </p:cNvSpPr>
            <p:nvPr/>
          </p:nvSpPr>
          <p:spPr bwMode="auto">
            <a:xfrm>
              <a:off x="5016654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5" name="Rectangle 9"/>
            <p:cNvSpPr>
              <a:spLocks noChangeArrowheads="1"/>
            </p:cNvSpPr>
            <p:nvPr/>
          </p:nvSpPr>
          <p:spPr bwMode="auto">
            <a:xfrm>
              <a:off x="5296536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6" name="Rectangle 9"/>
            <p:cNvSpPr>
              <a:spLocks noChangeArrowheads="1"/>
            </p:cNvSpPr>
            <p:nvPr/>
          </p:nvSpPr>
          <p:spPr bwMode="auto">
            <a:xfrm>
              <a:off x="5576418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7" name="Rectangle 9"/>
            <p:cNvSpPr>
              <a:spLocks noChangeArrowheads="1"/>
            </p:cNvSpPr>
            <p:nvPr/>
          </p:nvSpPr>
          <p:spPr bwMode="auto">
            <a:xfrm>
              <a:off x="585630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8" name="Rectangle 9"/>
            <p:cNvSpPr>
              <a:spLocks noChangeArrowheads="1"/>
            </p:cNvSpPr>
            <p:nvPr/>
          </p:nvSpPr>
          <p:spPr bwMode="auto">
            <a:xfrm>
              <a:off x="613618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9" name="Rectangle 9"/>
            <p:cNvSpPr>
              <a:spLocks noChangeArrowheads="1"/>
            </p:cNvSpPr>
            <p:nvPr/>
          </p:nvSpPr>
          <p:spPr bwMode="auto">
            <a:xfrm>
              <a:off x="6416064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70" name="Rectangle 9"/>
            <p:cNvSpPr>
              <a:spLocks noChangeArrowheads="1"/>
            </p:cNvSpPr>
            <p:nvPr/>
          </p:nvSpPr>
          <p:spPr bwMode="auto">
            <a:xfrm>
              <a:off x="8375233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71" name="Rectangle 9"/>
            <p:cNvSpPr>
              <a:spLocks noChangeArrowheads="1"/>
            </p:cNvSpPr>
            <p:nvPr/>
          </p:nvSpPr>
          <p:spPr bwMode="auto">
            <a:xfrm>
              <a:off x="6695946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72" name="Rectangle 9"/>
            <p:cNvSpPr>
              <a:spLocks noChangeArrowheads="1"/>
            </p:cNvSpPr>
            <p:nvPr/>
          </p:nvSpPr>
          <p:spPr bwMode="auto">
            <a:xfrm>
              <a:off x="7255710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73" name="Rectangle 9"/>
            <p:cNvSpPr>
              <a:spLocks noChangeArrowheads="1"/>
            </p:cNvSpPr>
            <p:nvPr/>
          </p:nvSpPr>
          <p:spPr bwMode="auto">
            <a:xfrm>
              <a:off x="7535592" y="1720205"/>
              <a:ext cx="226765" cy="287512"/>
            </a:xfrm>
            <a:prstGeom prst="roundRect">
              <a:avLst/>
            </a:prstGeom>
            <a:solidFill>
              <a:srgbClr val="FEA34F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74" name="Rectangle 9"/>
            <p:cNvSpPr>
              <a:spLocks noChangeArrowheads="1"/>
            </p:cNvSpPr>
            <p:nvPr/>
          </p:nvSpPr>
          <p:spPr bwMode="auto">
            <a:xfrm>
              <a:off x="7815474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75" name="Rectangle 9"/>
            <p:cNvSpPr>
              <a:spLocks noChangeArrowheads="1"/>
            </p:cNvSpPr>
            <p:nvPr/>
          </p:nvSpPr>
          <p:spPr bwMode="auto">
            <a:xfrm>
              <a:off x="8095356" y="1720205"/>
              <a:ext cx="226765" cy="287512"/>
            </a:xfrm>
            <a:prstGeom prst="round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sp>
        <p:nvSpPr>
          <p:cNvPr id="476" name="TextBox 475"/>
          <p:cNvSpPr txBox="1"/>
          <p:nvPr/>
        </p:nvSpPr>
        <p:spPr>
          <a:xfrm>
            <a:off x="1241899" y="4697619"/>
            <a:ext cx="811912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UX</a:t>
            </a:r>
            <a:endParaRPr lang="en-US" sz="1200" dirty="0"/>
          </a:p>
        </p:txBody>
      </p:sp>
      <p:cxnSp>
        <p:nvCxnSpPr>
          <p:cNvPr id="477" name="Straight Connector 476"/>
          <p:cNvCxnSpPr/>
          <p:nvPr/>
        </p:nvCxnSpPr>
        <p:spPr>
          <a:xfrm rot="5400000">
            <a:off x="1084935" y="4774315"/>
            <a:ext cx="170235" cy="0"/>
          </a:xfrm>
          <a:prstGeom prst="line">
            <a:avLst/>
          </a:prstGeom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8" name="Straight Connector 477"/>
          <p:cNvCxnSpPr/>
          <p:nvPr/>
        </p:nvCxnSpPr>
        <p:spPr>
          <a:xfrm flipV="1">
            <a:off x="5523975" y="2734290"/>
            <a:ext cx="0" cy="866129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9" name="TextBox 478"/>
          <p:cNvSpPr txBox="1"/>
          <p:nvPr/>
        </p:nvSpPr>
        <p:spPr>
          <a:xfrm>
            <a:off x="5622660" y="2634582"/>
            <a:ext cx="1119351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New Milestone</a:t>
            </a:r>
          </a:p>
          <a:p>
            <a:r>
              <a:rPr lang="en-US" sz="1200" dirty="0"/>
              <a:t>Feb 24, 2016</a:t>
            </a:r>
          </a:p>
        </p:txBody>
      </p:sp>
      <p:cxnSp>
        <p:nvCxnSpPr>
          <p:cNvPr id="480" name="Straight Connector 479"/>
          <p:cNvCxnSpPr/>
          <p:nvPr/>
        </p:nvCxnSpPr>
        <p:spPr>
          <a:xfrm flipV="1">
            <a:off x="10247904" y="2694314"/>
            <a:ext cx="0" cy="2869433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1" name="TextBox 480"/>
          <p:cNvSpPr txBox="1"/>
          <p:nvPr/>
        </p:nvSpPr>
        <p:spPr>
          <a:xfrm>
            <a:off x="10346588" y="2613033"/>
            <a:ext cx="1119351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Release</a:t>
            </a:r>
          </a:p>
          <a:p>
            <a:r>
              <a:rPr lang="en-US" sz="1200" dirty="0"/>
              <a:t>Apr 20, 2016</a:t>
            </a:r>
          </a:p>
        </p:txBody>
      </p:sp>
      <p:cxnSp>
        <p:nvCxnSpPr>
          <p:cNvPr id="482" name="Straight Connector 481"/>
          <p:cNvCxnSpPr/>
          <p:nvPr/>
        </p:nvCxnSpPr>
        <p:spPr>
          <a:xfrm flipV="1">
            <a:off x="7701171" y="3825207"/>
            <a:ext cx="0" cy="1521102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3" name="TextBox 482"/>
          <p:cNvSpPr txBox="1"/>
          <p:nvPr/>
        </p:nvSpPr>
        <p:spPr>
          <a:xfrm>
            <a:off x="7799856" y="3719148"/>
            <a:ext cx="1119351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New Milestone</a:t>
            </a:r>
          </a:p>
          <a:p>
            <a:r>
              <a:rPr lang="en-US" sz="1200" dirty="0"/>
              <a:t>Mar 23, 2016</a:t>
            </a:r>
          </a:p>
        </p:txBody>
      </p:sp>
      <p:sp>
        <p:nvSpPr>
          <p:cNvPr id="484" name="TextBox 483"/>
          <p:cNvSpPr txBox="1"/>
          <p:nvPr/>
        </p:nvSpPr>
        <p:spPr>
          <a:xfrm>
            <a:off x="8088736" y="5840866"/>
            <a:ext cx="749546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Priority :</a:t>
            </a:r>
            <a:endParaRPr lang="en-US" sz="1200" dirty="0"/>
          </a:p>
        </p:txBody>
      </p:sp>
      <p:grpSp>
        <p:nvGrpSpPr>
          <p:cNvPr id="485" name="Group 484"/>
          <p:cNvGrpSpPr/>
          <p:nvPr/>
        </p:nvGrpSpPr>
        <p:grpSpPr>
          <a:xfrm>
            <a:off x="8913473" y="5840866"/>
            <a:ext cx="2425024" cy="184666"/>
            <a:chOff x="6741158" y="4649519"/>
            <a:chExt cx="1867015" cy="184666"/>
          </a:xfrm>
        </p:grpSpPr>
        <p:grpSp>
          <p:nvGrpSpPr>
            <p:cNvPr id="486" name="Group 485"/>
            <p:cNvGrpSpPr/>
            <p:nvPr/>
          </p:nvGrpSpPr>
          <p:grpSpPr>
            <a:xfrm>
              <a:off x="6741158" y="4649519"/>
              <a:ext cx="467609" cy="184666"/>
              <a:chOff x="2864439" y="5139631"/>
              <a:chExt cx="467609" cy="184666"/>
            </a:xfrm>
          </p:grpSpPr>
          <p:sp>
            <p:nvSpPr>
              <p:cNvPr id="493" name="Rectangle 9"/>
              <p:cNvSpPr>
                <a:spLocks noChangeArrowheads="1"/>
              </p:cNvSpPr>
              <p:nvPr/>
            </p:nvSpPr>
            <p:spPr bwMode="auto">
              <a:xfrm>
                <a:off x="2864439" y="5144575"/>
                <a:ext cx="144000" cy="144000"/>
              </a:xfrm>
              <a:prstGeom prst="roundRect">
                <a:avLst/>
              </a:prstGeom>
              <a:solidFill>
                <a:srgbClr val="016AA3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200" b="1" dirty="0"/>
              </a:p>
            </p:txBody>
          </p:sp>
          <p:sp>
            <p:nvSpPr>
              <p:cNvPr id="494" name="TextBox 493"/>
              <p:cNvSpPr txBox="1"/>
              <p:nvPr/>
            </p:nvSpPr>
            <p:spPr>
              <a:xfrm>
                <a:off x="3060479" y="5139631"/>
                <a:ext cx="271569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dirty="0"/>
                  <a:t>High</a:t>
                </a:r>
              </a:p>
            </p:txBody>
          </p:sp>
        </p:grpSp>
        <p:grpSp>
          <p:nvGrpSpPr>
            <p:cNvPr id="487" name="Group 486"/>
            <p:cNvGrpSpPr/>
            <p:nvPr/>
          </p:nvGrpSpPr>
          <p:grpSpPr>
            <a:xfrm>
              <a:off x="7346316" y="4649519"/>
              <a:ext cx="668878" cy="184666"/>
              <a:chOff x="2864439" y="5139631"/>
              <a:chExt cx="668878" cy="184666"/>
            </a:xfrm>
          </p:grpSpPr>
          <p:sp>
            <p:nvSpPr>
              <p:cNvPr id="491" name="Rectangle 9"/>
              <p:cNvSpPr>
                <a:spLocks noChangeArrowheads="1"/>
              </p:cNvSpPr>
              <p:nvPr/>
            </p:nvSpPr>
            <p:spPr bwMode="auto">
              <a:xfrm>
                <a:off x="2864439" y="5144575"/>
                <a:ext cx="144000" cy="144000"/>
              </a:xfrm>
              <a:prstGeom prst="roundRect">
                <a:avLst/>
              </a:prstGeom>
              <a:solidFill>
                <a:srgbClr val="46B688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200" b="1" dirty="0"/>
              </a:p>
            </p:txBody>
          </p:sp>
          <p:sp>
            <p:nvSpPr>
              <p:cNvPr id="492" name="TextBox 491"/>
              <p:cNvSpPr txBox="1"/>
              <p:nvPr/>
            </p:nvSpPr>
            <p:spPr>
              <a:xfrm>
                <a:off x="3060478" y="5139631"/>
                <a:ext cx="472839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dirty="0"/>
                  <a:t>Medium</a:t>
                </a:r>
              </a:p>
            </p:txBody>
          </p:sp>
        </p:grpSp>
        <p:grpSp>
          <p:nvGrpSpPr>
            <p:cNvPr id="488" name="Group 487"/>
            <p:cNvGrpSpPr/>
            <p:nvPr/>
          </p:nvGrpSpPr>
          <p:grpSpPr>
            <a:xfrm>
              <a:off x="8152743" y="4649519"/>
              <a:ext cx="455430" cy="184666"/>
              <a:chOff x="2864439" y="5139631"/>
              <a:chExt cx="455430" cy="184666"/>
            </a:xfrm>
          </p:grpSpPr>
          <p:sp>
            <p:nvSpPr>
              <p:cNvPr id="489" name="Rectangle 9"/>
              <p:cNvSpPr>
                <a:spLocks noChangeArrowheads="1"/>
              </p:cNvSpPr>
              <p:nvPr/>
            </p:nvSpPr>
            <p:spPr bwMode="auto">
              <a:xfrm>
                <a:off x="2864439" y="5144575"/>
                <a:ext cx="144000" cy="144000"/>
              </a:xfrm>
              <a:prstGeom prst="roundRect">
                <a:avLst/>
              </a:prstGeom>
              <a:solidFill>
                <a:srgbClr val="FEA34F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200" b="1" dirty="0"/>
              </a:p>
            </p:txBody>
          </p:sp>
          <p:sp>
            <p:nvSpPr>
              <p:cNvPr id="490" name="TextBox 489"/>
              <p:cNvSpPr txBox="1"/>
              <p:nvPr/>
            </p:nvSpPr>
            <p:spPr>
              <a:xfrm>
                <a:off x="3060479" y="5139631"/>
                <a:ext cx="259390" cy="184666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dirty="0"/>
                  <a:t>Low</a:t>
                </a:r>
              </a:p>
            </p:txBody>
          </p:sp>
        </p:grpSp>
      </p:grpSp>
      <p:sp>
        <p:nvSpPr>
          <p:cNvPr id="495" name="Freeform 4347"/>
          <p:cNvSpPr>
            <a:spLocks/>
          </p:cNvSpPr>
          <p:nvPr/>
        </p:nvSpPr>
        <p:spPr bwMode="auto">
          <a:xfrm>
            <a:off x="836023" y="3767595"/>
            <a:ext cx="284163" cy="284163"/>
          </a:xfrm>
          <a:custGeom>
            <a:avLst/>
            <a:gdLst>
              <a:gd name="T0" fmla="*/ 795 w 891"/>
              <a:gd name="T1" fmla="*/ 575 h 893"/>
              <a:gd name="T2" fmla="*/ 727 w 891"/>
              <a:gd name="T3" fmla="*/ 560 h 893"/>
              <a:gd name="T4" fmla="*/ 546 w 891"/>
              <a:gd name="T5" fmla="*/ 446 h 893"/>
              <a:gd name="T6" fmla="*/ 742 w 891"/>
              <a:gd name="T7" fmla="*/ 331 h 893"/>
              <a:gd name="T8" fmla="*/ 831 w 891"/>
              <a:gd name="T9" fmla="*/ 295 h 893"/>
              <a:gd name="T10" fmla="*/ 877 w 891"/>
              <a:gd name="T11" fmla="*/ 233 h 893"/>
              <a:gd name="T12" fmla="*/ 891 w 891"/>
              <a:gd name="T13" fmla="*/ 163 h 893"/>
              <a:gd name="T14" fmla="*/ 876 w 891"/>
              <a:gd name="T15" fmla="*/ 101 h 893"/>
              <a:gd name="T16" fmla="*/ 856 w 891"/>
              <a:gd name="T17" fmla="*/ 98 h 893"/>
              <a:gd name="T18" fmla="*/ 797 w 891"/>
              <a:gd name="T19" fmla="*/ 36 h 893"/>
              <a:gd name="T20" fmla="*/ 794 w 891"/>
              <a:gd name="T21" fmla="*/ 15 h 893"/>
              <a:gd name="T22" fmla="*/ 709 w 891"/>
              <a:gd name="T23" fmla="*/ 1 h 893"/>
              <a:gd name="T24" fmla="*/ 620 w 891"/>
              <a:gd name="T25" fmla="*/ 38 h 893"/>
              <a:gd name="T26" fmla="*/ 574 w 891"/>
              <a:gd name="T27" fmla="*/ 97 h 893"/>
              <a:gd name="T28" fmla="*/ 559 w 891"/>
              <a:gd name="T29" fmla="*/ 163 h 893"/>
              <a:gd name="T30" fmla="*/ 446 w 891"/>
              <a:gd name="T31" fmla="*/ 345 h 893"/>
              <a:gd name="T32" fmla="*/ 331 w 891"/>
              <a:gd name="T33" fmla="*/ 163 h 893"/>
              <a:gd name="T34" fmla="*/ 316 w 891"/>
              <a:gd name="T35" fmla="*/ 97 h 893"/>
              <a:gd name="T36" fmla="*/ 274 w 891"/>
              <a:gd name="T37" fmla="*/ 40 h 893"/>
              <a:gd name="T38" fmla="*/ 209 w 891"/>
              <a:gd name="T39" fmla="*/ 6 h 893"/>
              <a:gd name="T40" fmla="*/ 139 w 891"/>
              <a:gd name="T41" fmla="*/ 3 h 893"/>
              <a:gd name="T42" fmla="*/ 96 w 891"/>
              <a:gd name="T43" fmla="*/ 21 h 893"/>
              <a:gd name="T44" fmla="*/ 179 w 891"/>
              <a:gd name="T45" fmla="*/ 105 h 893"/>
              <a:gd name="T46" fmla="*/ 28 w 891"/>
              <a:gd name="T47" fmla="*/ 95 h 893"/>
              <a:gd name="T48" fmla="*/ 8 w 891"/>
              <a:gd name="T49" fmla="*/ 116 h 893"/>
              <a:gd name="T50" fmla="*/ 1 w 891"/>
              <a:gd name="T51" fmla="*/ 188 h 893"/>
              <a:gd name="T52" fmla="*/ 24 w 891"/>
              <a:gd name="T53" fmla="*/ 256 h 893"/>
              <a:gd name="T54" fmla="*/ 76 w 891"/>
              <a:gd name="T55" fmla="*/ 308 h 893"/>
              <a:gd name="T56" fmla="*/ 140 w 891"/>
              <a:gd name="T57" fmla="*/ 331 h 893"/>
              <a:gd name="T58" fmla="*/ 209 w 891"/>
              <a:gd name="T59" fmla="*/ 327 h 893"/>
              <a:gd name="T60" fmla="*/ 179 w 891"/>
              <a:gd name="T61" fmla="*/ 561 h 893"/>
              <a:gd name="T62" fmla="*/ 87 w 891"/>
              <a:gd name="T63" fmla="*/ 580 h 893"/>
              <a:gd name="T64" fmla="*/ 24 w 891"/>
              <a:gd name="T65" fmla="*/ 638 h 893"/>
              <a:gd name="T66" fmla="*/ 1 w 891"/>
              <a:gd name="T67" fmla="*/ 707 h 893"/>
              <a:gd name="T68" fmla="*/ 8 w 891"/>
              <a:gd name="T69" fmla="*/ 778 h 893"/>
              <a:gd name="T70" fmla="*/ 28 w 891"/>
              <a:gd name="T71" fmla="*/ 800 h 893"/>
              <a:gd name="T72" fmla="*/ 179 w 891"/>
              <a:gd name="T73" fmla="*/ 786 h 893"/>
              <a:gd name="T74" fmla="*/ 96 w 891"/>
              <a:gd name="T75" fmla="*/ 871 h 893"/>
              <a:gd name="T76" fmla="*/ 152 w 891"/>
              <a:gd name="T77" fmla="*/ 892 h 893"/>
              <a:gd name="T78" fmla="*/ 231 w 891"/>
              <a:gd name="T79" fmla="*/ 879 h 893"/>
              <a:gd name="T80" fmla="*/ 299 w 891"/>
              <a:gd name="T81" fmla="*/ 825 h 893"/>
              <a:gd name="T82" fmla="*/ 328 w 891"/>
              <a:gd name="T83" fmla="*/ 763 h 893"/>
              <a:gd name="T84" fmla="*/ 328 w 891"/>
              <a:gd name="T85" fmla="*/ 694 h 893"/>
              <a:gd name="T86" fmla="*/ 563 w 891"/>
              <a:gd name="T87" fmla="*/ 694 h 893"/>
              <a:gd name="T88" fmla="*/ 564 w 891"/>
              <a:gd name="T89" fmla="*/ 762 h 893"/>
              <a:gd name="T90" fmla="*/ 592 w 891"/>
              <a:gd name="T91" fmla="*/ 825 h 893"/>
              <a:gd name="T92" fmla="*/ 662 w 891"/>
              <a:gd name="T93" fmla="*/ 879 h 893"/>
              <a:gd name="T94" fmla="*/ 758 w 891"/>
              <a:gd name="T95" fmla="*/ 889 h 893"/>
              <a:gd name="T96" fmla="*/ 799 w 891"/>
              <a:gd name="T97" fmla="*/ 867 h 893"/>
              <a:gd name="T98" fmla="*/ 718 w 891"/>
              <a:gd name="T99" fmla="*/ 717 h 893"/>
              <a:gd name="T100" fmla="*/ 866 w 891"/>
              <a:gd name="T101" fmla="*/ 800 h 893"/>
              <a:gd name="T102" fmla="*/ 886 w 891"/>
              <a:gd name="T103" fmla="*/ 767 h 893"/>
              <a:gd name="T104" fmla="*/ 889 w 891"/>
              <a:gd name="T105" fmla="*/ 695 h 893"/>
              <a:gd name="T106" fmla="*/ 859 w 891"/>
              <a:gd name="T107" fmla="*/ 62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1" h="893">
                <a:moveTo>
                  <a:pt x="843" y="608"/>
                </a:moveTo>
                <a:lnTo>
                  <a:pt x="834" y="600"/>
                </a:lnTo>
                <a:lnTo>
                  <a:pt x="825" y="593"/>
                </a:lnTo>
                <a:lnTo>
                  <a:pt x="815" y="586"/>
                </a:lnTo>
                <a:lnTo>
                  <a:pt x="805" y="580"/>
                </a:lnTo>
                <a:lnTo>
                  <a:pt x="795" y="575"/>
                </a:lnTo>
                <a:lnTo>
                  <a:pt x="784" y="571"/>
                </a:lnTo>
                <a:lnTo>
                  <a:pt x="773" y="567"/>
                </a:lnTo>
                <a:lnTo>
                  <a:pt x="762" y="564"/>
                </a:lnTo>
                <a:lnTo>
                  <a:pt x="751" y="562"/>
                </a:lnTo>
                <a:lnTo>
                  <a:pt x="739" y="560"/>
                </a:lnTo>
                <a:lnTo>
                  <a:pt x="727" y="560"/>
                </a:lnTo>
                <a:lnTo>
                  <a:pt x="717" y="560"/>
                </a:lnTo>
                <a:lnTo>
                  <a:pt x="705" y="561"/>
                </a:lnTo>
                <a:lnTo>
                  <a:pt x="693" y="563"/>
                </a:lnTo>
                <a:lnTo>
                  <a:pt x="681" y="566"/>
                </a:lnTo>
                <a:lnTo>
                  <a:pt x="671" y="570"/>
                </a:lnTo>
                <a:lnTo>
                  <a:pt x="546" y="446"/>
                </a:lnTo>
                <a:lnTo>
                  <a:pt x="671" y="323"/>
                </a:lnTo>
                <a:lnTo>
                  <a:pt x="683" y="327"/>
                </a:lnTo>
                <a:lnTo>
                  <a:pt x="697" y="329"/>
                </a:lnTo>
                <a:lnTo>
                  <a:pt x="711" y="331"/>
                </a:lnTo>
                <a:lnTo>
                  <a:pt x="725" y="331"/>
                </a:lnTo>
                <a:lnTo>
                  <a:pt x="742" y="331"/>
                </a:lnTo>
                <a:lnTo>
                  <a:pt x="758" y="329"/>
                </a:lnTo>
                <a:lnTo>
                  <a:pt x="774" y="325"/>
                </a:lnTo>
                <a:lnTo>
                  <a:pt x="789" y="319"/>
                </a:lnTo>
                <a:lnTo>
                  <a:pt x="803" y="313"/>
                </a:lnTo>
                <a:lnTo>
                  <a:pt x="817" y="304"/>
                </a:lnTo>
                <a:lnTo>
                  <a:pt x="831" y="295"/>
                </a:lnTo>
                <a:lnTo>
                  <a:pt x="843" y="284"/>
                </a:lnTo>
                <a:lnTo>
                  <a:pt x="851" y="275"/>
                </a:lnTo>
                <a:lnTo>
                  <a:pt x="859" y="265"/>
                </a:lnTo>
                <a:lnTo>
                  <a:pt x="866" y="254"/>
                </a:lnTo>
                <a:lnTo>
                  <a:pt x="873" y="243"/>
                </a:lnTo>
                <a:lnTo>
                  <a:pt x="877" y="233"/>
                </a:lnTo>
                <a:lnTo>
                  <a:pt x="882" y="221"/>
                </a:lnTo>
                <a:lnTo>
                  <a:pt x="886" y="210"/>
                </a:lnTo>
                <a:lnTo>
                  <a:pt x="889" y="199"/>
                </a:lnTo>
                <a:lnTo>
                  <a:pt x="890" y="187"/>
                </a:lnTo>
                <a:lnTo>
                  <a:pt x="891" y="175"/>
                </a:lnTo>
                <a:lnTo>
                  <a:pt x="891" y="163"/>
                </a:lnTo>
                <a:lnTo>
                  <a:pt x="891" y="151"/>
                </a:lnTo>
                <a:lnTo>
                  <a:pt x="889" y="140"/>
                </a:lnTo>
                <a:lnTo>
                  <a:pt x="886" y="128"/>
                </a:lnTo>
                <a:lnTo>
                  <a:pt x="882" y="116"/>
                </a:lnTo>
                <a:lnTo>
                  <a:pt x="878" y="104"/>
                </a:lnTo>
                <a:lnTo>
                  <a:pt x="876" y="101"/>
                </a:lnTo>
                <a:lnTo>
                  <a:pt x="874" y="98"/>
                </a:lnTo>
                <a:lnTo>
                  <a:pt x="871" y="96"/>
                </a:lnTo>
                <a:lnTo>
                  <a:pt x="866" y="96"/>
                </a:lnTo>
                <a:lnTo>
                  <a:pt x="863" y="95"/>
                </a:lnTo>
                <a:lnTo>
                  <a:pt x="859" y="96"/>
                </a:lnTo>
                <a:lnTo>
                  <a:pt x="856" y="98"/>
                </a:lnTo>
                <a:lnTo>
                  <a:pt x="852" y="100"/>
                </a:lnTo>
                <a:lnTo>
                  <a:pt x="785" y="179"/>
                </a:lnTo>
                <a:lnTo>
                  <a:pt x="718" y="179"/>
                </a:lnTo>
                <a:lnTo>
                  <a:pt x="718" y="105"/>
                </a:lnTo>
                <a:lnTo>
                  <a:pt x="795" y="38"/>
                </a:lnTo>
                <a:lnTo>
                  <a:pt x="797" y="36"/>
                </a:lnTo>
                <a:lnTo>
                  <a:pt x="799" y="33"/>
                </a:lnTo>
                <a:lnTo>
                  <a:pt x="799" y="28"/>
                </a:lnTo>
                <a:lnTo>
                  <a:pt x="799" y="25"/>
                </a:lnTo>
                <a:lnTo>
                  <a:pt x="798" y="21"/>
                </a:lnTo>
                <a:lnTo>
                  <a:pt x="796" y="18"/>
                </a:lnTo>
                <a:lnTo>
                  <a:pt x="794" y="15"/>
                </a:lnTo>
                <a:lnTo>
                  <a:pt x="790" y="13"/>
                </a:lnTo>
                <a:lnTo>
                  <a:pt x="774" y="7"/>
                </a:lnTo>
                <a:lnTo>
                  <a:pt x="758" y="3"/>
                </a:lnTo>
                <a:lnTo>
                  <a:pt x="742" y="1"/>
                </a:lnTo>
                <a:lnTo>
                  <a:pt x="725" y="0"/>
                </a:lnTo>
                <a:lnTo>
                  <a:pt x="709" y="1"/>
                </a:lnTo>
                <a:lnTo>
                  <a:pt x="693" y="3"/>
                </a:lnTo>
                <a:lnTo>
                  <a:pt x="677" y="7"/>
                </a:lnTo>
                <a:lnTo>
                  <a:pt x="662" y="12"/>
                </a:lnTo>
                <a:lnTo>
                  <a:pt x="647" y="20"/>
                </a:lnTo>
                <a:lnTo>
                  <a:pt x="633" y="28"/>
                </a:lnTo>
                <a:lnTo>
                  <a:pt x="620" y="38"/>
                </a:lnTo>
                <a:lnTo>
                  <a:pt x="609" y="49"/>
                </a:lnTo>
                <a:lnTo>
                  <a:pt x="600" y="57"/>
                </a:lnTo>
                <a:lnTo>
                  <a:pt x="592" y="67"/>
                </a:lnTo>
                <a:lnTo>
                  <a:pt x="586" y="77"/>
                </a:lnTo>
                <a:lnTo>
                  <a:pt x="580" y="86"/>
                </a:lnTo>
                <a:lnTo>
                  <a:pt x="574" y="97"/>
                </a:lnTo>
                <a:lnTo>
                  <a:pt x="570" y="108"/>
                </a:lnTo>
                <a:lnTo>
                  <a:pt x="567" y="118"/>
                </a:lnTo>
                <a:lnTo>
                  <a:pt x="564" y="129"/>
                </a:lnTo>
                <a:lnTo>
                  <a:pt x="561" y="141"/>
                </a:lnTo>
                <a:lnTo>
                  <a:pt x="560" y="153"/>
                </a:lnTo>
                <a:lnTo>
                  <a:pt x="559" y="163"/>
                </a:lnTo>
                <a:lnTo>
                  <a:pt x="560" y="175"/>
                </a:lnTo>
                <a:lnTo>
                  <a:pt x="561" y="187"/>
                </a:lnTo>
                <a:lnTo>
                  <a:pt x="563" y="199"/>
                </a:lnTo>
                <a:lnTo>
                  <a:pt x="566" y="209"/>
                </a:lnTo>
                <a:lnTo>
                  <a:pt x="569" y="221"/>
                </a:lnTo>
                <a:lnTo>
                  <a:pt x="446" y="345"/>
                </a:lnTo>
                <a:lnTo>
                  <a:pt x="322" y="221"/>
                </a:lnTo>
                <a:lnTo>
                  <a:pt x="325" y="209"/>
                </a:lnTo>
                <a:lnTo>
                  <a:pt x="328" y="199"/>
                </a:lnTo>
                <a:lnTo>
                  <a:pt x="330" y="187"/>
                </a:lnTo>
                <a:lnTo>
                  <a:pt x="331" y="175"/>
                </a:lnTo>
                <a:lnTo>
                  <a:pt x="331" y="163"/>
                </a:lnTo>
                <a:lnTo>
                  <a:pt x="330" y="153"/>
                </a:lnTo>
                <a:lnTo>
                  <a:pt x="329" y="141"/>
                </a:lnTo>
                <a:lnTo>
                  <a:pt x="327" y="129"/>
                </a:lnTo>
                <a:lnTo>
                  <a:pt x="324" y="118"/>
                </a:lnTo>
                <a:lnTo>
                  <a:pt x="321" y="108"/>
                </a:lnTo>
                <a:lnTo>
                  <a:pt x="316" y="97"/>
                </a:lnTo>
                <a:lnTo>
                  <a:pt x="311" y="86"/>
                </a:lnTo>
                <a:lnTo>
                  <a:pt x="305" y="77"/>
                </a:lnTo>
                <a:lnTo>
                  <a:pt x="298" y="67"/>
                </a:lnTo>
                <a:lnTo>
                  <a:pt x="291" y="57"/>
                </a:lnTo>
                <a:lnTo>
                  <a:pt x="282" y="49"/>
                </a:lnTo>
                <a:lnTo>
                  <a:pt x="274" y="40"/>
                </a:lnTo>
                <a:lnTo>
                  <a:pt x="264" y="33"/>
                </a:lnTo>
                <a:lnTo>
                  <a:pt x="253" y="25"/>
                </a:lnTo>
                <a:lnTo>
                  <a:pt x="243" y="20"/>
                </a:lnTo>
                <a:lnTo>
                  <a:pt x="232" y="15"/>
                </a:lnTo>
                <a:lnTo>
                  <a:pt x="221" y="10"/>
                </a:lnTo>
                <a:lnTo>
                  <a:pt x="209" y="6"/>
                </a:lnTo>
                <a:lnTo>
                  <a:pt x="199" y="4"/>
                </a:lnTo>
                <a:lnTo>
                  <a:pt x="187" y="2"/>
                </a:lnTo>
                <a:lnTo>
                  <a:pt x="175" y="1"/>
                </a:lnTo>
                <a:lnTo>
                  <a:pt x="162" y="1"/>
                </a:lnTo>
                <a:lnTo>
                  <a:pt x="151" y="2"/>
                </a:lnTo>
                <a:lnTo>
                  <a:pt x="139" y="3"/>
                </a:lnTo>
                <a:lnTo>
                  <a:pt x="127" y="5"/>
                </a:lnTo>
                <a:lnTo>
                  <a:pt x="115" y="9"/>
                </a:lnTo>
                <a:lnTo>
                  <a:pt x="103" y="13"/>
                </a:lnTo>
                <a:lnTo>
                  <a:pt x="100" y="16"/>
                </a:lnTo>
                <a:lnTo>
                  <a:pt x="97" y="18"/>
                </a:lnTo>
                <a:lnTo>
                  <a:pt x="96" y="21"/>
                </a:lnTo>
                <a:lnTo>
                  <a:pt x="95" y="25"/>
                </a:lnTo>
                <a:lnTo>
                  <a:pt x="94" y="28"/>
                </a:lnTo>
                <a:lnTo>
                  <a:pt x="95" y="33"/>
                </a:lnTo>
                <a:lnTo>
                  <a:pt x="97" y="36"/>
                </a:lnTo>
                <a:lnTo>
                  <a:pt x="99" y="38"/>
                </a:lnTo>
                <a:lnTo>
                  <a:pt x="179" y="105"/>
                </a:lnTo>
                <a:lnTo>
                  <a:pt x="179" y="179"/>
                </a:lnTo>
                <a:lnTo>
                  <a:pt x="106" y="179"/>
                </a:lnTo>
                <a:lnTo>
                  <a:pt x="38" y="100"/>
                </a:lnTo>
                <a:lnTo>
                  <a:pt x="35" y="98"/>
                </a:lnTo>
                <a:lnTo>
                  <a:pt x="32" y="96"/>
                </a:lnTo>
                <a:lnTo>
                  <a:pt x="28" y="95"/>
                </a:lnTo>
                <a:lnTo>
                  <a:pt x="24" y="96"/>
                </a:lnTo>
                <a:lnTo>
                  <a:pt x="20" y="96"/>
                </a:lnTo>
                <a:lnTo>
                  <a:pt x="17" y="98"/>
                </a:lnTo>
                <a:lnTo>
                  <a:pt x="15" y="101"/>
                </a:lnTo>
                <a:lnTo>
                  <a:pt x="13" y="104"/>
                </a:lnTo>
                <a:lnTo>
                  <a:pt x="8" y="116"/>
                </a:lnTo>
                <a:lnTo>
                  <a:pt x="5" y="128"/>
                </a:lnTo>
                <a:lnTo>
                  <a:pt x="2" y="140"/>
                </a:lnTo>
                <a:lnTo>
                  <a:pt x="1" y="151"/>
                </a:lnTo>
                <a:lnTo>
                  <a:pt x="0" y="164"/>
                </a:lnTo>
                <a:lnTo>
                  <a:pt x="0" y="176"/>
                </a:lnTo>
                <a:lnTo>
                  <a:pt x="1" y="188"/>
                </a:lnTo>
                <a:lnTo>
                  <a:pt x="3" y="200"/>
                </a:lnTo>
                <a:lnTo>
                  <a:pt x="5" y="211"/>
                </a:lnTo>
                <a:lnTo>
                  <a:pt x="9" y="223"/>
                </a:lnTo>
                <a:lnTo>
                  <a:pt x="14" y="235"/>
                </a:lnTo>
                <a:lnTo>
                  <a:pt x="19" y="246"/>
                </a:lnTo>
                <a:lnTo>
                  <a:pt x="24" y="256"/>
                </a:lnTo>
                <a:lnTo>
                  <a:pt x="32" y="266"/>
                </a:lnTo>
                <a:lnTo>
                  <a:pt x="39" y="276"/>
                </a:lnTo>
                <a:lnTo>
                  <a:pt x="48" y="285"/>
                </a:lnTo>
                <a:lnTo>
                  <a:pt x="56" y="294"/>
                </a:lnTo>
                <a:lnTo>
                  <a:pt x="66" y="300"/>
                </a:lnTo>
                <a:lnTo>
                  <a:pt x="76" y="308"/>
                </a:lnTo>
                <a:lnTo>
                  <a:pt x="85" y="313"/>
                </a:lnTo>
                <a:lnTo>
                  <a:pt x="96" y="318"/>
                </a:lnTo>
                <a:lnTo>
                  <a:pt x="107" y="323"/>
                </a:lnTo>
                <a:lnTo>
                  <a:pt x="117" y="326"/>
                </a:lnTo>
                <a:lnTo>
                  <a:pt x="128" y="329"/>
                </a:lnTo>
                <a:lnTo>
                  <a:pt x="140" y="331"/>
                </a:lnTo>
                <a:lnTo>
                  <a:pt x="152" y="332"/>
                </a:lnTo>
                <a:lnTo>
                  <a:pt x="162" y="333"/>
                </a:lnTo>
                <a:lnTo>
                  <a:pt x="174" y="332"/>
                </a:lnTo>
                <a:lnTo>
                  <a:pt x="186" y="331"/>
                </a:lnTo>
                <a:lnTo>
                  <a:pt x="198" y="329"/>
                </a:lnTo>
                <a:lnTo>
                  <a:pt x="209" y="327"/>
                </a:lnTo>
                <a:lnTo>
                  <a:pt x="220" y="323"/>
                </a:lnTo>
                <a:lnTo>
                  <a:pt x="344" y="447"/>
                </a:lnTo>
                <a:lnTo>
                  <a:pt x="220" y="570"/>
                </a:lnTo>
                <a:lnTo>
                  <a:pt x="207" y="566"/>
                </a:lnTo>
                <a:lnTo>
                  <a:pt x="193" y="562"/>
                </a:lnTo>
                <a:lnTo>
                  <a:pt x="179" y="561"/>
                </a:lnTo>
                <a:lnTo>
                  <a:pt x="166" y="560"/>
                </a:lnTo>
                <a:lnTo>
                  <a:pt x="148" y="561"/>
                </a:lnTo>
                <a:lnTo>
                  <a:pt x="132" y="563"/>
                </a:lnTo>
                <a:lnTo>
                  <a:pt x="117" y="568"/>
                </a:lnTo>
                <a:lnTo>
                  <a:pt x="101" y="573"/>
                </a:lnTo>
                <a:lnTo>
                  <a:pt x="87" y="580"/>
                </a:lnTo>
                <a:lnTo>
                  <a:pt x="74" y="588"/>
                </a:lnTo>
                <a:lnTo>
                  <a:pt x="61" y="598"/>
                </a:lnTo>
                <a:lnTo>
                  <a:pt x="48" y="608"/>
                </a:lnTo>
                <a:lnTo>
                  <a:pt x="39" y="618"/>
                </a:lnTo>
                <a:lnTo>
                  <a:pt x="32" y="628"/>
                </a:lnTo>
                <a:lnTo>
                  <a:pt x="24" y="638"/>
                </a:lnTo>
                <a:lnTo>
                  <a:pt x="19" y="649"/>
                </a:lnTo>
                <a:lnTo>
                  <a:pt x="14" y="660"/>
                </a:lnTo>
                <a:lnTo>
                  <a:pt x="9" y="671"/>
                </a:lnTo>
                <a:lnTo>
                  <a:pt x="5" y="683"/>
                </a:lnTo>
                <a:lnTo>
                  <a:pt x="3" y="695"/>
                </a:lnTo>
                <a:lnTo>
                  <a:pt x="1" y="707"/>
                </a:lnTo>
                <a:lnTo>
                  <a:pt x="0" y="719"/>
                </a:lnTo>
                <a:lnTo>
                  <a:pt x="0" y="730"/>
                </a:lnTo>
                <a:lnTo>
                  <a:pt x="1" y="743"/>
                </a:lnTo>
                <a:lnTo>
                  <a:pt x="2" y="755"/>
                </a:lnTo>
                <a:lnTo>
                  <a:pt x="5" y="767"/>
                </a:lnTo>
                <a:lnTo>
                  <a:pt x="8" y="778"/>
                </a:lnTo>
                <a:lnTo>
                  <a:pt x="13" y="790"/>
                </a:lnTo>
                <a:lnTo>
                  <a:pt x="15" y="793"/>
                </a:lnTo>
                <a:lnTo>
                  <a:pt x="17" y="797"/>
                </a:lnTo>
                <a:lnTo>
                  <a:pt x="20" y="799"/>
                </a:lnTo>
                <a:lnTo>
                  <a:pt x="24" y="800"/>
                </a:lnTo>
                <a:lnTo>
                  <a:pt x="28" y="800"/>
                </a:lnTo>
                <a:lnTo>
                  <a:pt x="32" y="799"/>
                </a:lnTo>
                <a:lnTo>
                  <a:pt x="35" y="798"/>
                </a:lnTo>
                <a:lnTo>
                  <a:pt x="38" y="796"/>
                </a:lnTo>
                <a:lnTo>
                  <a:pt x="106" y="717"/>
                </a:lnTo>
                <a:lnTo>
                  <a:pt x="179" y="717"/>
                </a:lnTo>
                <a:lnTo>
                  <a:pt x="179" y="786"/>
                </a:lnTo>
                <a:lnTo>
                  <a:pt x="99" y="853"/>
                </a:lnTo>
                <a:lnTo>
                  <a:pt x="97" y="857"/>
                </a:lnTo>
                <a:lnTo>
                  <a:pt x="95" y="860"/>
                </a:lnTo>
                <a:lnTo>
                  <a:pt x="94" y="863"/>
                </a:lnTo>
                <a:lnTo>
                  <a:pt x="95" y="867"/>
                </a:lnTo>
                <a:lnTo>
                  <a:pt x="96" y="871"/>
                </a:lnTo>
                <a:lnTo>
                  <a:pt x="97" y="875"/>
                </a:lnTo>
                <a:lnTo>
                  <a:pt x="100" y="877"/>
                </a:lnTo>
                <a:lnTo>
                  <a:pt x="103" y="879"/>
                </a:lnTo>
                <a:lnTo>
                  <a:pt x="120" y="884"/>
                </a:lnTo>
                <a:lnTo>
                  <a:pt x="135" y="889"/>
                </a:lnTo>
                <a:lnTo>
                  <a:pt x="152" y="892"/>
                </a:lnTo>
                <a:lnTo>
                  <a:pt x="168" y="893"/>
                </a:lnTo>
                <a:lnTo>
                  <a:pt x="168" y="893"/>
                </a:lnTo>
                <a:lnTo>
                  <a:pt x="184" y="892"/>
                </a:lnTo>
                <a:lnTo>
                  <a:pt x="200" y="889"/>
                </a:lnTo>
                <a:lnTo>
                  <a:pt x="216" y="885"/>
                </a:lnTo>
                <a:lnTo>
                  <a:pt x="231" y="879"/>
                </a:lnTo>
                <a:lnTo>
                  <a:pt x="245" y="873"/>
                </a:lnTo>
                <a:lnTo>
                  <a:pt x="259" y="864"/>
                </a:lnTo>
                <a:lnTo>
                  <a:pt x="271" y="854"/>
                </a:lnTo>
                <a:lnTo>
                  <a:pt x="284" y="843"/>
                </a:lnTo>
                <a:lnTo>
                  <a:pt x="292" y="834"/>
                </a:lnTo>
                <a:lnTo>
                  <a:pt x="299" y="825"/>
                </a:lnTo>
                <a:lnTo>
                  <a:pt x="306" y="816"/>
                </a:lnTo>
                <a:lnTo>
                  <a:pt x="312" y="806"/>
                </a:lnTo>
                <a:lnTo>
                  <a:pt x="317" y="796"/>
                </a:lnTo>
                <a:lnTo>
                  <a:pt x="322" y="785"/>
                </a:lnTo>
                <a:lnTo>
                  <a:pt x="325" y="774"/>
                </a:lnTo>
                <a:lnTo>
                  <a:pt x="328" y="763"/>
                </a:lnTo>
                <a:lnTo>
                  <a:pt x="330" y="752"/>
                </a:lnTo>
                <a:lnTo>
                  <a:pt x="331" y="741"/>
                </a:lnTo>
                <a:lnTo>
                  <a:pt x="331" y="729"/>
                </a:lnTo>
                <a:lnTo>
                  <a:pt x="331" y="717"/>
                </a:lnTo>
                <a:lnTo>
                  <a:pt x="330" y="706"/>
                </a:lnTo>
                <a:lnTo>
                  <a:pt x="328" y="694"/>
                </a:lnTo>
                <a:lnTo>
                  <a:pt x="325" y="682"/>
                </a:lnTo>
                <a:lnTo>
                  <a:pt x="322" y="671"/>
                </a:lnTo>
                <a:lnTo>
                  <a:pt x="446" y="547"/>
                </a:lnTo>
                <a:lnTo>
                  <a:pt x="569" y="671"/>
                </a:lnTo>
                <a:lnTo>
                  <a:pt x="566" y="682"/>
                </a:lnTo>
                <a:lnTo>
                  <a:pt x="563" y="694"/>
                </a:lnTo>
                <a:lnTo>
                  <a:pt x="561" y="706"/>
                </a:lnTo>
                <a:lnTo>
                  <a:pt x="560" y="716"/>
                </a:lnTo>
                <a:lnTo>
                  <a:pt x="559" y="728"/>
                </a:lnTo>
                <a:lnTo>
                  <a:pt x="560" y="740"/>
                </a:lnTo>
                <a:lnTo>
                  <a:pt x="561" y="752"/>
                </a:lnTo>
                <a:lnTo>
                  <a:pt x="564" y="762"/>
                </a:lnTo>
                <a:lnTo>
                  <a:pt x="567" y="774"/>
                </a:lnTo>
                <a:lnTo>
                  <a:pt x="570" y="785"/>
                </a:lnTo>
                <a:lnTo>
                  <a:pt x="574" y="796"/>
                </a:lnTo>
                <a:lnTo>
                  <a:pt x="580" y="805"/>
                </a:lnTo>
                <a:lnTo>
                  <a:pt x="586" y="816"/>
                </a:lnTo>
                <a:lnTo>
                  <a:pt x="592" y="825"/>
                </a:lnTo>
                <a:lnTo>
                  <a:pt x="600" y="834"/>
                </a:lnTo>
                <a:lnTo>
                  <a:pt x="609" y="843"/>
                </a:lnTo>
                <a:lnTo>
                  <a:pt x="620" y="854"/>
                </a:lnTo>
                <a:lnTo>
                  <a:pt x="634" y="864"/>
                </a:lnTo>
                <a:lnTo>
                  <a:pt x="648" y="873"/>
                </a:lnTo>
                <a:lnTo>
                  <a:pt x="662" y="879"/>
                </a:lnTo>
                <a:lnTo>
                  <a:pt x="678" y="885"/>
                </a:lnTo>
                <a:lnTo>
                  <a:pt x="693" y="889"/>
                </a:lnTo>
                <a:lnTo>
                  <a:pt x="709" y="892"/>
                </a:lnTo>
                <a:lnTo>
                  <a:pt x="725" y="893"/>
                </a:lnTo>
                <a:lnTo>
                  <a:pt x="741" y="892"/>
                </a:lnTo>
                <a:lnTo>
                  <a:pt x="758" y="889"/>
                </a:lnTo>
                <a:lnTo>
                  <a:pt x="774" y="884"/>
                </a:lnTo>
                <a:lnTo>
                  <a:pt x="790" y="879"/>
                </a:lnTo>
                <a:lnTo>
                  <a:pt x="794" y="877"/>
                </a:lnTo>
                <a:lnTo>
                  <a:pt x="796" y="875"/>
                </a:lnTo>
                <a:lnTo>
                  <a:pt x="798" y="871"/>
                </a:lnTo>
                <a:lnTo>
                  <a:pt x="799" y="867"/>
                </a:lnTo>
                <a:lnTo>
                  <a:pt x="799" y="863"/>
                </a:lnTo>
                <a:lnTo>
                  <a:pt x="799" y="860"/>
                </a:lnTo>
                <a:lnTo>
                  <a:pt x="797" y="857"/>
                </a:lnTo>
                <a:lnTo>
                  <a:pt x="795" y="853"/>
                </a:lnTo>
                <a:lnTo>
                  <a:pt x="718" y="786"/>
                </a:lnTo>
                <a:lnTo>
                  <a:pt x="718" y="717"/>
                </a:lnTo>
                <a:lnTo>
                  <a:pt x="785" y="717"/>
                </a:lnTo>
                <a:lnTo>
                  <a:pt x="854" y="796"/>
                </a:lnTo>
                <a:lnTo>
                  <a:pt x="856" y="798"/>
                </a:lnTo>
                <a:lnTo>
                  <a:pt x="859" y="799"/>
                </a:lnTo>
                <a:lnTo>
                  <a:pt x="863" y="800"/>
                </a:lnTo>
                <a:lnTo>
                  <a:pt x="866" y="800"/>
                </a:lnTo>
                <a:lnTo>
                  <a:pt x="871" y="799"/>
                </a:lnTo>
                <a:lnTo>
                  <a:pt x="874" y="797"/>
                </a:lnTo>
                <a:lnTo>
                  <a:pt x="876" y="793"/>
                </a:lnTo>
                <a:lnTo>
                  <a:pt x="878" y="790"/>
                </a:lnTo>
                <a:lnTo>
                  <a:pt x="882" y="778"/>
                </a:lnTo>
                <a:lnTo>
                  <a:pt x="886" y="767"/>
                </a:lnTo>
                <a:lnTo>
                  <a:pt x="889" y="755"/>
                </a:lnTo>
                <a:lnTo>
                  <a:pt x="891" y="743"/>
                </a:lnTo>
                <a:lnTo>
                  <a:pt x="891" y="730"/>
                </a:lnTo>
                <a:lnTo>
                  <a:pt x="891" y="719"/>
                </a:lnTo>
                <a:lnTo>
                  <a:pt x="890" y="707"/>
                </a:lnTo>
                <a:lnTo>
                  <a:pt x="889" y="695"/>
                </a:lnTo>
                <a:lnTo>
                  <a:pt x="886" y="683"/>
                </a:lnTo>
                <a:lnTo>
                  <a:pt x="882" y="671"/>
                </a:lnTo>
                <a:lnTo>
                  <a:pt x="877" y="660"/>
                </a:lnTo>
                <a:lnTo>
                  <a:pt x="872" y="649"/>
                </a:lnTo>
                <a:lnTo>
                  <a:pt x="866" y="638"/>
                </a:lnTo>
                <a:lnTo>
                  <a:pt x="859" y="628"/>
                </a:lnTo>
                <a:lnTo>
                  <a:pt x="851" y="618"/>
                </a:lnTo>
                <a:lnTo>
                  <a:pt x="843" y="608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96" name="Group 495"/>
          <p:cNvGrpSpPr/>
          <p:nvPr/>
        </p:nvGrpSpPr>
        <p:grpSpPr>
          <a:xfrm>
            <a:off x="833794" y="2641983"/>
            <a:ext cx="284163" cy="284163"/>
            <a:chOff x="7613650" y="1387475"/>
            <a:chExt cx="284163" cy="284163"/>
          </a:xfrm>
          <a:solidFill>
            <a:srgbClr val="016AA3"/>
          </a:solidFill>
        </p:grpSpPr>
        <p:sp>
          <p:nvSpPr>
            <p:cNvPr id="497" name="Freeform 4359"/>
            <p:cNvSpPr>
              <a:spLocks noEditPoints="1"/>
            </p:cNvSpPr>
            <p:nvPr/>
          </p:nvSpPr>
          <p:spPr bwMode="auto">
            <a:xfrm>
              <a:off x="7613650" y="1471613"/>
              <a:ext cx="200025" cy="200025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Freeform 4360"/>
            <p:cNvSpPr>
              <a:spLocks noEditPoints="1"/>
            </p:cNvSpPr>
            <p:nvPr/>
          </p:nvSpPr>
          <p:spPr bwMode="auto">
            <a:xfrm>
              <a:off x="7781925" y="1387475"/>
              <a:ext cx="115888" cy="117475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9" name="Group 498"/>
          <p:cNvGrpSpPr/>
          <p:nvPr/>
        </p:nvGrpSpPr>
        <p:grpSpPr>
          <a:xfrm>
            <a:off x="890401" y="4654574"/>
            <a:ext cx="187325" cy="282575"/>
            <a:chOff x="9934575" y="354013"/>
            <a:chExt cx="187325" cy="282575"/>
          </a:xfrm>
          <a:solidFill>
            <a:srgbClr val="FEA34F"/>
          </a:solidFill>
        </p:grpSpPr>
        <p:sp>
          <p:nvSpPr>
            <p:cNvPr id="500" name="Freeform 4517"/>
            <p:cNvSpPr>
              <a:spLocks/>
            </p:cNvSpPr>
            <p:nvPr/>
          </p:nvSpPr>
          <p:spPr bwMode="auto">
            <a:xfrm>
              <a:off x="9950450" y="427038"/>
              <a:ext cx="166688" cy="209550"/>
            </a:xfrm>
            <a:custGeom>
              <a:avLst/>
              <a:gdLst>
                <a:gd name="T0" fmla="*/ 305 w 524"/>
                <a:gd name="T1" fmla="*/ 288 h 662"/>
                <a:gd name="T2" fmla="*/ 304 w 524"/>
                <a:gd name="T3" fmla="*/ 61 h 662"/>
                <a:gd name="T4" fmla="*/ 302 w 524"/>
                <a:gd name="T5" fmla="*/ 48 h 662"/>
                <a:gd name="T6" fmla="*/ 296 w 524"/>
                <a:gd name="T7" fmla="*/ 36 h 662"/>
                <a:gd name="T8" fmla="*/ 288 w 524"/>
                <a:gd name="T9" fmla="*/ 25 h 662"/>
                <a:gd name="T10" fmla="*/ 279 w 524"/>
                <a:gd name="T11" fmla="*/ 16 h 662"/>
                <a:gd name="T12" fmla="*/ 269 w 524"/>
                <a:gd name="T13" fmla="*/ 8 h 662"/>
                <a:gd name="T14" fmla="*/ 257 w 524"/>
                <a:gd name="T15" fmla="*/ 3 h 662"/>
                <a:gd name="T16" fmla="*/ 244 w 524"/>
                <a:gd name="T17" fmla="*/ 0 h 662"/>
                <a:gd name="T18" fmla="*/ 231 w 524"/>
                <a:gd name="T19" fmla="*/ 0 h 662"/>
                <a:gd name="T20" fmla="*/ 218 w 524"/>
                <a:gd name="T21" fmla="*/ 3 h 662"/>
                <a:gd name="T22" fmla="*/ 206 w 524"/>
                <a:gd name="T23" fmla="*/ 8 h 662"/>
                <a:gd name="T24" fmla="*/ 196 w 524"/>
                <a:gd name="T25" fmla="*/ 16 h 662"/>
                <a:gd name="T26" fmla="*/ 185 w 524"/>
                <a:gd name="T27" fmla="*/ 26 h 662"/>
                <a:gd name="T28" fmla="*/ 178 w 524"/>
                <a:gd name="T29" fmla="*/ 36 h 662"/>
                <a:gd name="T30" fmla="*/ 173 w 524"/>
                <a:gd name="T31" fmla="*/ 48 h 662"/>
                <a:gd name="T32" fmla="*/ 170 w 524"/>
                <a:gd name="T33" fmla="*/ 61 h 662"/>
                <a:gd name="T34" fmla="*/ 171 w 524"/>
                <a:gd name="T35" fmla="*/ 448 h 662"/>
                <a:gd name="T36" fmla="*/ 129 w 524"/>
                <a:gd name="T37" fmla="*/ 392 h 662"/>
                <a:gd name="T38" fmla="*/ 112 w 524"/>
                <a:gd name="T39" fmla="*/ 374 h 662"/>
                <a:gd name="T40" fmla="*/ 96 w 524"/>
                <a:gd name="T41" fmla="*/ 360 h 662"/>
                <a:gd name="T42" fmla="*/ 82 w 524"/>
                <a:gd name="T43" fmla="*/ 351 h 662"/>
                <a:gd name="T44" fmla="*/ 68 w 524"/>
                <a:gd name="T45" fmla="*/ 346 h 662"/>
                <a:gd name="T46" fmla="*/ 40 w 524"/>
                <a:gd name="T47" fmla="*/ 343 h 662"/>
                <a:gd name="T48" fmla="*/ 28 w 524"/>
                <a:gd name="T49" fmla="*/ 344 h 662"/>
                <a:gd name="T50" fmla="*/ 19 w 524"/>
                <a:gd name="T51" fmla="*/ 348 h 662"/>
                <a:gd name="T52" fmla="*/ 12 w 524"/>
                <a:gd name="T53" fmla="*/ 354 h 662"/>
                <a:gd name="T54" fmla="*/ 6 w 524"/>
                <a:gd name="T55" fmla="*/ 362 h 662"/>
                <a:gd name="T56" fmla="*/ 1 w 524"/>
                <a:gd name="T57" fmla="*/ 379 h 662"/>
                <a:gd name="T58" fmla="*/ 1 w 524"/>
                <a:gd name="T59" fmla="*/ 397 h 662"/>
                <a:gd name="T60" fmla="*/ 6 w 524"/>
                <a:gd name="T61" fmla="*/ 415 h 662"/>
                <a:gd name="T62" fmla="*/ 13 w 524"/>
                <a:gd name="T63" fmla="*/ 431 h 662"/>
                <a:gd name="T64" fmla="*/ 485 w 524"/>
                <a:gd name="T65" fmla="*/ 662 h 662"/>
                <a:gd name="T66" fmla="*/ 523 w 524"/>
                <a:gd name="T67" fmla="*/ 431 h 662"/>
                <a:gd name="T68" fmla="*/ 524 w 524"/>
                <a:gd name="T69" fmla="*/ 407 h 662"/>
                <a:gd name="T70" fmla="*/ 521 w 524"/>
                <a:gd name="T71" fmla="*/ 393 h 662"/>
                <a:gd name="T72" fmla="*/ 516 w 524"/>
                <a:gd name="T73" fmla="*/ 378 h 662"/>
                <a:gd name="T74" fmla="*/ 510 w 524"/>
                <a:gd name="T75" fmla="*/ 366 h 662"/>
                <a:gd name="T76" fmla="*/ 499 w 524"/>
                <a:gd name="T77" fmla="*/ 354 h 662"/>
                <a:gd name="T78" fmla="*/ 486 w 524"/>
                <a:gd name="T79" fmla="*/ 346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4" h="662">
                  <a:moveTo>
                    <a:pt x="479" y="343"/>
                  </a:moveTo>
                  <a:lnTo>
                    <a:pt x="305" y="288"/>
                  </a:lnTo>
                  <a:lnTo>
                    <a:pt x="305" y="68"/>
                  </a:lnTo>
                  <a:lnTo>
                    <a:pt x="304" y="61"/>
                  </a:lnTo>
                  <a:lnTo>
                    <a:pt x="303" y="54"/>
                  </a:lnTo>
                  <a:lnTo>
                    <a:pt x="302" y="48"/>
                  </a:lnTo>
                  <a:lnTo>
                    <a:pt x="300" y="42"/>
                  </a:lnTo>
                  <a:lnTo>
                    <a:pt x="296" y="36"/>
                  </a:lnTo>
                  <a:lnTo>
                    <a:pt x="293" y="30"/>
                  </a:lnTo>
                  <a:lnTo>
                    <a:pt x="288" y="25"/>
                  </a:lnTo>
                  <a:lnTo>
                    <a:pt x="285" y="20"/>
                  </a:lnTo>
                  <a:lnTo>
                    <a:pt x="279" y="16"/>
                  </a:lnTo>
                  <a:lnTo>
                    <a:pt x="275" y="11"/>
                  </a:lnTo>
                  <a:lnTo>
                    <a:pt x="269" y="8"/>
                  </a:lnTo>
                  <a:lnTo>
                    <a:pt x="262" y="5"/>
                  </a:lnTo>
                  <a:lnTo>
                    <a:pt x="257" y="3"/>
                  </a:lnTo>
                  <a:lnTo>
                    <a:pt x="250" y="1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1" y="0"/>
                  </a:lnTo>
                  <a:lnTo>
                    <a:pt x="224" y="1"/>
                  </a:lnTo>
                  <a:lnTo>
                    <a:pt x="218" y="3"/>
                  </a:lnTo>
                  <a:lnTo>
                    <a:pt x="211" y="5"/>
                  </a:lnTo>
                  <a:lnTo>
                    <a:pt x="206" y="8"/>
                  </a:lnTo>
                  <a:lnTo>
                    <a:pt x="200" y="12"/>
                  </a:lnTo>
                  <a:lnTo>
                    <a:pt x="196" y="16"/>
                  </a:lnTo>
                  <a:lnTo>
                    <a:pt x="190" y="20"/>
                  </a:lnTo>
                  <a:lnTo>
                    <a:pt x="185" y="26"/>
                  </a:lnTo>
                  <a:lnTo>
                    <a:pt x="182" y="30"/>
                  </a:lnTo>
                  <a:lnTo>
                    <a:pt x="178" y="36"/>
                  </a:lnTo>
                  <a:lnTo>
                    <a:pt x="175" y="42"/>
                  </a:lnTo>
                  <a:lnTo>
                    <a:pt x="173" y="48"/>
                  </a:lnTo>
                  <a:lnTo>
                    <a:pt x="171" y="54"/>
                  </a:lnTo>
                  <a:lnTo>
                    <a:pt x="170" y="61"/>
                  </a:lnTo>
                  <a:lnTo>
                    <a:pt x="170" y="68"/>
                  </a:lnTo>
                  <a:lnTo>
                    <a:pt x="171" y="448"/>
                  </a:lnTo>
                  <a:lnTo>
                    <a:pt x="148" y="417"/>
                  </a:lnTo>
                  <a:lnTo>
                    <a:pt x="129" y="392"/>
                  </a:lnTo>
                  <a:lnTo>
                    <a:pt x="120" y="383"/>
                  </a:lnTo>
                  <a:lnTo>
                    <a:pt x="112" y="374"/>
                  </a:lnTo>
                  <a:lnTo>
                    <a:pt x="104" y="367"/>
                  </a:lnTo>
                  <a:lnTo>
                    <a:pt x="96" y="360"/>
                  </a:lnTo>
                  <a:lnTo>
                    <a:pt x="89" y="356"/>
                  </a:lnTo>
                  <a:lnTo>
                    <a:pt x="82" y="351"/>
                  </a:lnTo>
                  <a:lnTo>
                    <a:pt x="75" y="349"/>
                  </a:lnTo>
                  <a:lnTo>
                    <a:pt x="68" y="346"/>
                  </a:lnTo>
                  <a:lnTo>
                    <a:pt x="54" y="344"/>
                  </a:lnTo>
                  <a:lnTo>
                    <a:pt x="40" y="343"/>
                  </a:lnTo>
                  <a:lnTo>
                    <a:pt x="34" y="343"/>
                  </a:lnTo>
                  <a:lnTo>
                    <a:pt x="28" y="344"/>
                  </a:lnTo>
                  <a:lnTo>
                    <a:pt x="24" y="346"/>
                  </a:lnTo>
                  <a:lnTo>
                    <a:pt x="19" y="348"/>
                  </a:lnTo>
                  <a:lnTo>
                    <a:pt x="16" y="351"/>
                  </a:lnTo>
                  <a:lnTo>
                    <a:pt x="12" y="354"/>
                  </a:lnTo>
                  <a:lnTo>
                    <a:pt x="9" y="358"/>
                  </a:lnTo>
                  <a:lnTo>
                    <a:pt x="6" y="362"/>
                  </a:lnTo>
                  <a:lnTo>
                    <a:pt x="3" y="370"/>
                  </a:lnTo>
                  <a:lnTo>
                    <a:pt x="1" y="379"/>
                  </a:lnTo>
                  <a:lnTo>
                    <a:pt x="0" y="388"/>
                  </a:lnTo>
                  <a:lnTo>
                    <a:pt x="1" y="397"/>
                  </a:lnTo>
                  <a:lnTo>
                    <a:pt x="3" y="406"/>
                  </a:lnTo>
                  <a:lnTo>
                    <a:pt x="6" y="415"/>
                  </a:lnTo>
                  <a:lnTo>
                    <a:pt x="9" y="423"/>
                  </a:lnTo>
                  <a:lnTo>
                    <a:pt x="13" y="431"/>
                  </a:lnTo>
                  <a:lnTo>
                    <a:pt x="173" y="662"/>
                  </a:lnTo>
                  <a:lnTo>
                    <a:pt x="485" y="662"/>
                  </a:lnTo>
                  <a:lnTo>
                    <a:pt x="521" y="447"/>
                  </a:lnTo>
                  <a:lnTo>
                    <a:pt x="523" y="431"/>
                  </a:lnTo>
                  <a:lnTo>
                    <a:pt x="524" y="415"/>
                  </a:lnTo>
                  <a:lnTo>
                    <a:pt x="524" y="407"/>
                  </a:lnTo>
                  <a:lnTo>
                    <a:pt x="523" y="401"/>
                  </a:lnTo>
                  <a:lnTo>
                    <a:pt x="521" y="393"/>
                  </a:lnTo>
                  <a:lnTo>
                    <a:pt x="519" y="385"/>
                  </a:lnTo>
                  <a:lnTo>
                    <a:pt x="516" y="378"/>
                  </a:lnTo>
                  <a:lnTo>
                    <a:pt x="513" y="371"/>
                  </a:lnTo>
                  <a:lnTo>
                    <a:pt x="510" y="366"/>
                  </a:lnTo>
                  <a:lnTo>
                    <a:pt x="504" y="360"/>
                  </a:lnTo>
                  <a:lnTo>
                    <a:pt x="499" y="354"/>
                  </a:lnTo>
                  <a:lnTo>
                    <a:pt x="493" y="350"/>
                  </a:lnTo>
                  <a:lnTo>
                    <a:pt x="486" y="346"/>
                  </a:lnTo>
                  <a:lnTo>
                    <a:pt x="479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Freeform 4518"/>
            <p:cNvSpPr>
              <a:spLocks/>
            </p:cNvSpPr>
            <p:nvPr/>
          </p:nvSpPr>
          <p:spPr bwMode="auto">
            <a:xfrm>
              <a:off x="9934575" y="354013"/>
              <a:ext cx="187325" cy="163513"/>
            </a:xfrm>
            <a:custGeom>
              <a:avLst/>
              <a:gdLst>
                <a:gd name="T0" fmla="*/ 137 w 591"/>
                <a:gd name="T1" fmla="*/ 489 h 514"/>
                <a:gd name="T2" fmla="*/ 133 w 591"/>
                <a:gd name="T3" fmla="*/ 467 h 514"/>
                <a:gd name="T4" fmla="*/ 107 w 591"/>
                <a:gd name="T5" fmla="*/ 436 h 514"/>
                <a:gd name="T6" fmla="*/ 71 w 591"/>
                <a:gd name="T7" fmla="*/ 365 h 514"/>
                <a:gd name="T8" fmla="*/ 61 w 591"/>
                <a:gd name="T9" fmla="*/ 307 h 514"/>
                <a:gd name="T10" fmla="*/ 63 w 591"/>
                <a:gd name="T11" fmla="*/ 261 h 514"/>
                <a:gd name="T12" fmla="*/ 74 w 591"/>
                <a:gd name="T13" fmla="*/ 215 h 514"/>
                <a:gd name="T14" fmla="*/ 93 w 591"/>
                <a:gd name="T15" fmla="*/ 175 h 514"/>
                <a:gd name="T16" fmla="*/ 122 w 591"/>
                <a:gd name="T17" fmla="*/ 138 h 514"/>
                <a:gd name="T18" fmla="*/ 155 w 591"/>
                <a:gd name="T19" fmla="*/ 106 h 514"/>
                <a:gd name="T20" fmla="*/ 195 w 591"/>
                <a:gd name="T21" fmla="*/ 82 h 514"/>
                <a:gd name="T22" fmla="*/ 238 w 591"/>
                <a:gd name="T23" fmla="*/ 66 h 514"/>
                <a:gd name="T24" fmla="*/ 284 w 591"/>
                <a:gd name="T25" fmla="*/ 60 h 514"/>
                <a:gd name="T26" fmla="*/ 330 w 591"/>
                <a:gd name="T27" fmla="*/ 62 h 514"/>
                <a:gd name="T28" fmla="*/ 376 w 591"/>
                <a:gd name="T29" fmla="*/ 73 h 514"/>
                <a:gd name="T30" fmla="*/ 417 w 591"/>
                <a:gd name="T31" fmla="*/ 94 h 514"/>
                <a:gd name="T32" fmla="*/ 454 w 591"/>
                <a:gd name="T33" fmla="*/ 121 h 514"/>
                <a:gd name="T34" fmla="*/ 485 w 591"/>
                <a:gd name="T35" fmla="*/ 156 h 514"/>
                <a:gd name="T36" fmla="*/ 509 w 591"/>
                <a:gd name="T37" fmla="*/ 195 h 514"/>
                <a:gd name="T38" fmla="*/ 529 w 591"/>
                <a:gd name="T39" fmla="*/ 261 h 514"/>
                <a:gd name="T40" fmla="*/ 532 w 591"/>
                <a:gd name="T41" fmla="*/ 307 h 514"/>
                <a:gd name="T42" fmla="*/ 521 w 591"/>
                <a:gd name="T43" fmla="*/ 365 h 514"/>
                <a:gd name="T44" fmla="*/ 485 w 591"/>
                <a:gd name="T45" fmla="*/ 436 h 514"/>
                <a:gd name="T46" fmla="*/ 459 w 591"/>
                <a:gd name="T47" fmla="*/ 467 h 514"/>
                <a:gd name="T48" fmla="*/ 455 w 591"/>
                <a:gd name="T49" fmla="*/ 489 h 514"/>
                <a:gd name="T50" fmla="*/ 467 w 591"/>
                <a:gd name="T51" fmla="*/ 509 h 514"/>
                <a:gd name="T52" fmla="*/ 490 w 591"/>
                <a:gd name="T53" fmla="*/ 513 h 514"/>
                <a:gd name="T54" fmla="*/ 516 w 591"/>
                <a:gd name="T55" fmla="*/ 494 h 514"/>
                <a:gd name="T56" fmla="*/ 550 w 591"/>
                <a:gd name="T57" fmla="*/ 447 h 514"/>
                <a:gd name="T58" fmla="*/ 574 w 591"/>
                <a:gd name="T59" fmla="*/ 395 h 514"/>
                <a:gd name="T60" fmla="*/ 589 w 591"/>
                <a:gd name="T61" fmla="*/ 340 h 514"/>
                <a:gd name="T62" fmla="*/ 591 w 591"/>
                <a:gd name="T63" fmla="*/ 281 h 514"/>
                <a:gd name="T64" fmla="*/ 583 w 591"/>
                <a:gd name="T65" fmla="*/ 223 h 514"/>
                <a:gd name="T66" fmla="*/ 564 w 591"/>
                <a:gd name="T67" fmla="*/ 169 h 514"/>
                <a:gd name="T68" fmla="*/ 534 w 591"/>
                <a:gd name="T69" fmla="*/ 119 h 514"/>
                <a:gd name="T70" fmla="*/ 494 w 591"/>
                <a:gd name="T71" fmla="*/ 77 h 514"/>
                <a:gd name="T72" fmla="*/ 448 w 591"/>
                <a:gd name="T73" fmla="*/ 42 h 514"/>
                <a:gd name="T74" fmla="*/ 396 w 591"/>
                <a:gd name="T75" fmla="*/ 17 h 514"/>
                <a:gd name="T76" fmla="*/ 340 w 591"/>
                <a:gd name="T77" fmla="*/ 3 h 514"/>
                <a:gd name="T78" fmla="*/ 295 w 591"/>
                <a:gd name="T79" fmla="*/ 0 h 514"/>
                <a:gd name="T80" fmla="*/ 238 w 591"/>
                <a:gd name="T81" fmla="*/ 5 h 514"/>
                <a:gd name="T82" fmla="*/ 183 w 591"/>
                <a:gd name="T83" fmla="*/ 22 h 514"/>
                <a:gd name="T84" fmla="*/ 132 w 591"/>
                <a:gd name="T85" fmla="*/ 49 h 514"/>
                <a:gd name="T86" fmla="*/ 87 w 591"/>
                <a:gd name="T87" fmla="*/ 87 h 514"/>
                <a:gd name="T88" fmla="*/ 49 w 591"/>
                <a:gd name="T89" fmla="*/ 132 h 514"/>
                <a:gd name="T90" fmla="*/ 22 w 591"/>
                <a:gd name="T91" fmla="*/ 182 h 514"/>
                <a:gd name="T92" fmla="*/ 5 w 591"/>
                <a:gd name="T93" fmla="*/ 237 h 514"/>
                <a:gd name="T94" fmla="*/ 0 w 591"/>
                <a:gd name="T95" fmla="*/ 296 h 514"/>
                <a:gd name="T96" fmla="*/ 5 w 591"/>
                <a:gd name="T97" fmla="*/ 353 h 514"/>
                <a:gd name="T98" fmla="*/ 22 w 591"/>
                <a:gd name="T99" fmla="*/ 409 h 514"/>
                <a:gd name="T100" fmla="*/ 49 w 591"/>
                <a:gd name="T101" fmla="*/ 459 h 514"/>
                <a:gd name="T102" fmla="*/ 87 w 591"/>
                <a:gd name="T103" fmla="*/ 505 h 514"/>
                <a:gd name="T104" fmla="*/ 108 w 591"/>
                <a:gd name="T105" fmla="*/ 514 h 514"/>
                <a:gd name="T106" fmla="*/ 129 w 591"/>
                <a:gd name="T107" fmla="*/ 505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1" h="514">
                  <a:moveTo>
                    <a:pt x="129" y="505"/>
                  </a:moveTo>
                  <a:lnTo>
                    <a:pt x="133" y="500"/>
                  </a:lnTo>
                  <a:lnTo>
                    <a:pt x="136" y="494"/>
                  </a:lnTo>
                  <a:lnTo>
                    <a:pt x="137" y="489"/>
                  </a:lnTo>
                  <a:lnTo>
                    <a:pt x="138" y="483"/>
                  </a:lnTo>
                  <a:lnTo>
                    <a:pt x="137" y="478"/>
                  </a:lnTo>
                  <a:lnTo>
                    <a:pt x="136" y="472"/>
                  </a:lnTo>
                  <a:lnTo>
                    <a:pt x="133" y="467"/>
                  </a:lnTo>
                  <a:lnTo>
                    <a:pt x="129" y="462"/>
                  </a:lnTo>
                  <a:lnTo>
                    <a:pt x="122" y="454"/>
                  </a:lnTo>
                  <a:lnTo>
                    <a:pt x="114" y="445"/>
                  </a:lnTo>
                  <a:lnTo>
                    <a:pt x="107" y="436"/>
                  </a:lnTo>
                  <a:lnTo>
                    <a:pt x="100" y="427"/>
                  </a:lnTo>
                  <a:lnTo>
                    <a:pt x="88" y="406"/>
                  </a:lnTo>
                  <a:lnTo>
                    <a:pt x="79" y="386"/>
                  </a:lnTo>
                  <a:lnTo>
                    <a:pt x="71" y="365"/>
                  </a:lnTo>
                  <a:lnTo>
                    <a:pt x="65" y="342"/>
                  </a:lnTo>
                  <a:lnTo>
                    <a:pt x="63" y="331"/>
                  </a:lnTo>
                  <a:lnTo>
                    <a:pt x="62" y="319"/>
                  </a:lnTo>
                  <a:lnTo>
                    <a:pt x="61" y="307"/>
                  </a:lnTo>
                  <a:lnTo>
                    <a:pt x="61" y="296"/>
                  </a:lnTo>
                  <a:lnTo>
                    <a:pt x="61" y="283"/>
                  </a:lnTo>
                  <a:lnTo>
                    <a:pt x="62" y="272"/>
                  </a:lnTo>
                  <a:lnTo>
                    <a:pt x="63" y="261"/>
                  </a:lnTo>
                  <a:lnTo>
                    <a:pt x="65" y="249"/>
                  </a:lnTo>
                  <a:lnTo>
                    <a:pt x="67" y="238"/>
                  </a:lnTo>
                  <a:lnTo>
                    <a:pt x="71" y="227"/>
                  </a:lnTo>
                  <a:lnTo>
                    <a:pt x="74" y="215"/>
                  </a:lnTo>
                  <a:lnTo>
                    <a:pt x="79" y="205"/>
                  </a:lnTo>
                  <a:lnTo>
                    <a:pt x="83" y="195"/>
                  </a:lnTo>
                  <a:lnTo>
                    <a:pt x="88" y="185"/>
                  </a:lnTo>
                  <a:lnTo>
                    <a:pt x="93" y="175"/>
                  </a:lnTo>
                  <a:lnTo>
                    <a:pt x="100" y="165"/>
                  </a:lnTo>
                  <a:lnTo>
                    <a:pt x="107" y="156"/>
                  </a:lnTo>
                  <a:lnTo>
                    <a:pt x="114" y="147"/>
                  </a:lnTo>
                  <a:lnTo>
                    <a:pt x="122" y="138"/>
                  </a:lnTo>
                  <a:lnTo>
                    <a:pt x="129" y="129"/>
                  </a:lnTo>
                  <a:lnTo>
                    <a:pt x="137" y="121"/>
                  </a:lnTo>
                  <a:lnTo>
                    <a:pt x="146" y="113"/>
                  </a:lnTo>
                  <a:lnTo>
                    <a:pt x="155" y="106"/>
                  </a:lnTo>
                  <a:lnTo>
                    <a:pt x="166" y="99"/>
                  </a:lnTo>
                  <a:lnTo>
                    <a:pt x="175" y="94"/>
                  </a:lnTo>
                  <a:lnTo>
                    <a:pt x="185" y="88"/>
                  </a:lnTo>
                  <a:lnTo>
                    <a:pt x="195" y="82"/>
                  </a:lnTo>
                  <a:lnTo>
                    <a:pt x="206" y="78"/>
                  </a:lnTo>
                  <a:lnTo>
                    <a:pt x="216" y="73"/>
                  </a:lnTo>
                  <a:lnTo>
                    <a:pt x="228" y="70"/>
                  </a:lnTo>
                  <a:lnTo>
                    <a:pt x="238" y="66"/>
                  </a:lnTo>
                  <a:lnTo>
                    <a:pt x="249" y="64"/>
                  </a:lnTo>
                  <a:lnTo>
                    <a:pt x="262" y="62"/>
                  </a:lnTo>
                  <a:lnTo>
                    <a:pt x="273" y="61"/>
                  </a:lnTo>
                  <a:lnTo>
                    <a:pt x="284" y="60"/>
                  </a:lnTo>
                  <a:lnTo>
                    <a:pt x="295" y="60"/>
                  </a:lnTo>
                  <a:lnTo>
                    <a:pt x="308" y="60"/>
                  </a:lnTo>
                  <a:lnTo>
                    <a:pt x="319" y="61"/>
                  </a:lnTo>
                  <a:lnTo>
                    <a:pt x="330" y="62"/>
                  </a:lnTo>
                  <a:lnTo>
                    <a:pt x="342" y="64"/>
                  </a:lnTo>
                  <a:lnTo>
                    <a:pt x="353" y="66"/>
                  </a:lnTo>
                  <a:lnTo>
                    <a:pt x="364" y="70"/>
                  </a:lnTo>
                  <a:lnTo>
                    <a:pt x="376" y="73"/>
                  </a:lnTo>
                  <a:lnTo>
                    <a:pt x="386" y="78"/>
                  </a:lnTo>
                  <a:lnTo>
                    <a:pt x="397" y="82"/>
                  </a:lnTo>
                  <a:lnTo>
                    <a:pt x="407" y="88"/>
                  </a:lnTo>
                  <a:lnTo>
                    <a:pt x="417" y="94"/>
                  </a:lnTo>
                  <a:lnTo>
                    <a:pt x="426" y="99"/>
                  </a:lnTo>
                  <a:lnTo>
                    <a:pt x="437" y="106"/>
                  </a:lnTo>
                  <a:lnTo>
                    <a:pt x="446" y="113"/>
                  </a:lnTo>
                  <a:lnTo>
                    <a:pt x="454" y="121"/>
                  </a:lnTo>
                  <a:lnTo>
                    <a:pt x="463" y="129"/>
                  </a:lnTo>
                  <a:lnTo>
                    <a:pt x="471" y="138"/>
                  </a:lnTo>
                  <a:lnTo>
                    <a:pt x="478" y="147"/>
                  </a:lnTo>
                  <a:lnTo>
                    <a:pt x="485" y="156"/>
                  </a:lnTo>
                  <a:lnTo>
                    <a:pt x="492" y="165"/>
                  </a:lnTo>
                  <a:lnTo>
                    <a:pt x="499" y="175"/>
                  </a:lnTo>
                  <a:lnTo>
                    <a:pt x="504" y="185"/>
                  </a:lnTo>
                  <a:lnTo>
                    <a:pt x="509" y="195"/>
                  </a:lnTo>
                  <a:lnTo>
                    <a:pt x="513" y="205"/>
                  </a:lnTo>
                  <a:lnTo>
                    <a:pt x="521" y="227"/>
                  </a:lnTo>
                  <a:lnTo>
                    <a:pt x="527" y="249"/>
                  </a:lnTo>
                  <a:lnTo>
                    <a:pt x="529" y="261"/>
                  </a:lnTo>
                  <a:lnTo>
                    <a:pt x="530" y="272"/>
                  </a:lnTo>
                  <a:lnTo>
                    <a:pt x="532" y="283"/>
                  </a:lnTo>
                  <a:lnTo>
                    <a:pt x="532" y="296"/>
                  </a:lnTo>
                  <a:lnTo>
                    <a:pt x="532" y="307"/>
                  </a:lnTo>
                  <a:lnTo>
                    <a:pt x="530" y="319"/>
                  </a:lnTo>
                  <a:lnTo>
                    <a:pt x="529" y="331"/>
                  </a:lnTo>
                  <a:lnTo>
                    <a:pt x="527" y="342"/>
                  </a:lnTo>
                  <a:lnTo>
                    <a:pt x="521" y="365"/>
                  </a:lnTo>
                  <a:lnTo>
                    <a:pt x="513" y="386"/>
                  </a:lnTo>
                  <a:lnTo>
                    <a:pt x="504" y="406"/>
                  </a:lnTo>
                  <a:lnTo>
                    <a:pt x="492" y="427"/>
                  </a:lnTo>
                  <a:lnTo>
                    <a:pt x="485" y="436"/>
                  </a:lnTo>
                  <a:lnTo>
                    <a:pt x="478" y="445"/>
                  </a:lnTo>
                  <a:lnTo>
                    <a:pt x="471" y="454"/>
                  </a:lnTo>
                  <a:lnTo>
                    <a:pt x="463" y="462"/>
                  </a:lnTo>
                  <a:lnTo>
                    <a:pt x="459" y="467"/>
                  </a:lnTo>
                  <a:lnTo>
                    <a:pt x="456" y="472"/>
                  </a:lnTo>
                  <a:lnTo>
                    <a:pt x="455" y="478"/>
                  </a:lnTo>
                  <a:lnTo>
                    <a:pt x="454" y="483"/>
                  </a:lnTo>
                  <a:lnTo>
                    <a:pt x="455" y="489"/>
                  </a:lnTo>
                  <a:lnTo>
                    <a:pt x="456" y="494"/>
                  </a:lnTo>
                  <a:lnTo>
                    <a:pt x="459" y="500"/>
                  </a:lnTo>
                  <a:lnTo>
                    <a:pt x="463" y="505"/>
                  </a:lnTo>
                  <a:lnTo>
                    <a:pt x="467" y="509"/>
                  </a:lnTo>
                  <a:lnTo>
                    <a:pt x="473" y="511"/>
                  </a:lnTo>
                  <a:lnTo>
                    <a:pt x="478" y="513"/>
                  </a:lnTo>
                  <a:lnTo>
                    <a:pt x="484" y="514"/>
                  </a:lnTo>
                  <a:lnTo>
                    <a:pt x="490" y="513"/>
                  </a:lnTo>
                  <a:lnTo>
                    <a:pt x="495" y="511"/>
                  </a:lnTo>
                  <a:lnTo>
                    <a:pt x="501" y="509"/>
                  </a:lnTo>
                  <a:lnTo>
                    <a:pt x="506" y="505"/>
                  </a:lnTo>
                  <a:lnTo>
                    <a:pt x="516" y="494"/>
                  </a:lnTo>
                  <a:lnTo>
                    <a:pt x="525" y="483"/>
                  </a:lnTo>
                  <a:lnTo>
                    <a:pt x="534" y="472"/>
                  </a:lnTo>
                  <a:lnTo>
                    <a:pt x="543" y="459"/>
                  </a:lnTo>
                  <a:lnTo>
                    <a:pt x="550" y="447"/>
                  </a:lnTo>
                  <a:lnTo>
                    <a:pt x="557" y="435"/>
                  </a:lnTo>
                  <a:lnTo>
                    <a:pt x="564" y="422"/>
                  </a:lnTo>
                  <a:lnTo>
                    <a:pt x="570" y="409"/>
                  </a:lnTo>
                  <a:lnTo>
                    <a:pt x="574" y="395"/>
                  </a:lnTo>
                  <a:lnTo>
                    <a:pt x="579" y="382"/>
                  </a:lnTo>
                  <a:lnTo>
                    <a:pt x="583" y="368"/>
                  </a:lnTo>
                  <a:lnTo>
                    <a:pt x="586" y="353"/>
                  </a:lnTo>
                  <a:lnTo>
                    <a:pt x="589" y="340"/>
                  </a:lnTo>
                  <a:lnTo>
                    <a:pt x="590" y="325"/>
                  </a:lnTo>
                  <a:lnTo>
                    <a:pt x="591" y="310"/>
                  </a:lnTo>
                  <a:lnTo>
                    <a:pt x="591" y="296"/>
                  </a:lnTo>
                  <a:lnTo>
                    <a:pt x="591" y="281"/>
                  </a:lnTo>
                  <a:lnTo>
                    <a:pt x="590" y="266"/>
                  </a:lnTo>
                  <a:lnTo>
                    <a:pt x="589" y="252"/>
                  </a:lnTo>
                  <a:lnTo>
                    <a:pt x="586" y="237"/>
                  </a:lnTo>
                  <a:lnTo>
                    <a:pt x="583" y="223"/>
                  </a:lnTo>
                  <a:lnTo>
                    <a:pt x="579" y="209"/>
                  </a:lnTo>
                  <a:lnTo>
                    <a:pt x="574" y="195"/>
                  </a:lnTo>
                  <a:lnTo>
                    <a:pt x="570" y="183"/>
                  </a:lnTo>
                  <a:lnTo>
                    <a:pt x="564" y="169"/>
                  </a:lnTo>
                  <a:lnTo>
                    <a:pt x="557" y="156"/>
                  </a:lnTo>
                  <a:lnTo>
                    <a:pt x="550" y="143"/>
                  </a:lnTo>
                  <a:lnTo>
                    <a:pt x="543" y="132"/>
                  </a:lnTo>
                  <a:lnTo>
                    <a:pt x="534" y="119"/>
                  </a:lnTo>
                  <a:lnTo>
                    <a:pt x="525" y="108"/>
                  </a:lnTo>
                  <a:lnTo>
                    <a:pt x="516" y="97"/>
                  </a:lnTo>
                  <a:lnTo>
                    <a:pt x="506" y="87"/>
                  </a:lnTo>
                  <a:lnTo>
                    <a:pt x="494" y="77"/>
                  </a:lnTo>
                  <a:lnTo>
                    <a:pt x="483" y="66"/>
                  </a:lnTo>
                  <a:lnTo>
                    <a:pt x="472" y="57"/>
                  </a:lnTo>
                  <a:lnTo>
                    <a:pt x="460" y="49"/>
                  </a:lnTo>
                  <a:lnTo>
                    <a:pt x="448" y="42"/>
                  </a:lnTo>
                  <a:lnTo>
                    <a:pt x="436" y="35"/>
                  </a:lnTo>
                  <a:lnTo>
                    <a:pt x="422" y="28"/>
                  </a:lnTo>
                  <a:lnTo>
                    <a:pt x="410" y="22"/>
                  </a:lnTo>
                  <a:lnTo>
                    <a:pt x="396" y="17"/>
                  </a:lnTo>
                  <a:lnTo>
                    <a:pt x="382" y="12"/>
                  </a:lnTo>
                  <a:lnTo>
                    <a:pt x="368" y="9"/>
                  </a:lnTo>
                  <a:lnTo>
                    <a:pt x="354" y="5"/>
                  </a:lnTo>
                  <a:lnTo>
                    <a:pt x="340" y="3"/>
                  </a:lnTo>
                  <a:lnTo>
                    <a:pt x="325" y="1"/>
                  </a:lnTo>
                  <a:lnTo>
                    <a:pt x="311" y="0"/>
                  </a:lnTo>
                  <a:lnTo>
                    <a:pt x="295" y="0"/>
                  </a:lnTo>
                  <a:lnTo>
                    <a:pt x="295" y="0"/>
                  </a:lnTo>
                  <a:lnTo>
                    <a:pt x="281" y="0"/>
                  </a:lnTo>
                  <a:lnTo>
                    <a:pt x="266" y="1"/>
                  </a:lnTo>
                  <a:lnTo>
                    <a:pt x="253" y="3"/>
                  </a:lnTo>
                  <a:lnTo>
                    <a:pt x="238" y="5"/>
                  </a:lnTo>
                  <a:lnTo>
                    <a:pt x="223" y="9"/>
                  </a:lnTo>
                  <a:lnTo>
                    <a:pt x="210" y="12"/>
                  </a:lnTo>
                  <a:lnTo>
                    <a:pt x="196" y="17"/>
                  </a:lnTo>
                  <a:lnTo>
                    <a:pt x="183" y="22"/>
                  </a:lnTo>
                  <a:lnTo>
                    <a:pt x="169" y="28"/>
                  </a:lnTo>
                  <a:lnTo>
                    <a:pt x="157" y="35"/>
                  </a:lnTo>
                  <a:lnTo>
                    <a:pt x="144" y="42"/>
                  </a:lnTo>
                  <a:lnTo>
                    <a:pt x="132" y="49"/>
                  </a:lnTo>
                  <a:lnTo>
                    <a:pt x="120" y="57"/>
                  </a:lnTo>
                  <a:lnTo>
                    <a:pt x="108" y="66"/>
                  </a:lnTo>
                  <a:lnTo>
                    <a:pt x="98" y="77"/>
                  </a:lnTo>
                  <a:lnTo>
                    <a:pt x="87" y="87"/>
                  </a:lnTo>
                  <a:lnTo>
                    <a:pt x="76" y="97"/>
                  </a:lnTo>
                  <a:lnTo>
                    <a:pt x="67" y="108"/>
                  </a:lnTo>
                  <a:lnTo>
                    <a:pt x="58" y="119"/>
                  </a:lnTo>
                  <a:lnTo>
                    <a:pt x="49" y="132"/>
                  </a:lnTo>
                  <a:lnTo>
                    <a:pt x="41" y="143"/>
                  </a:lnTo>
                  <a:lnTo>
                    <a:pt x="35" y="156"/>
                  </a:lnTo>
                  <a:lnTo>
                    <a:pt x="28" y="169"/>
                  </a:lnTo>
                  <a:lnTo>
                    <a:pt x="22" y="182"/>
                  </a:lnTo>
                  <a:lnTo>
                    <a:pt x="18" y="195"/>
                  </a:lnTo>
                  <a:lnTo>
                    <a:pt x="13" y="209"/>
                  </a:lnTo>
                  <a:lnTo>
                    <a:pt x="9" y="223"/>
                  </a:lnTo>
                  <a:lnTo>
                    <a:pt x="5" y="237"/>
                  </a:lnTo>
                  <a:lnTo>
                    <a:pt x="3" y="252"/>
                  </a:lnTo>
                  <a:lnTo>
                    <a:pt x="2" y="266"/>
                  </a:lnTo>
                  <a:lnTo>
                    <a:pt x="1" y="281"/>
                  </a:lnTo>
                  <a:lnTo>
                    <a:pt x="0" y="296"/>
                  </a:lnTo>
                  <a:lnTo>
                    <a:pt x="1" y="310"/>
                  </a:lnTo>
                  <a:lnTo>
                    <a:pt x="2" y="325"/>
                  </a:lnTo>
                  <a:lnTo>
                    <a:pt x="3" y="340"/>
                  </a:lnTo>
                  <a:lnTo>
                    <a:pt x="5" y="353"/>
                  </a:lnTo>
                  <a:lnTo>
                    <a:pt x="9" y="368"/>
                  </a:lnTo>
                  <a:lnTo>
                    <a:pt x="13" y="382"/>
                  </a:lnTo>
                  <a:lnTo>
                    <a:pt x="18" y="395"/>
                  </a:lnTo>
                  <a:lnTo>
                    <a:pt x="22" y="409"/>
                  </a:lnTo>
                  <a:lnTo>
                    <a:pt x="28" y="422"/>
                  </a:lnTo>
                  <a:lnTo>
                    <a:pt x="35" y="435"/>
                  </a:lnTo>
                  <a:lnTo>
                    <a:pt x="41" y="447"/>
                  </a:lnTo>
                  <a:lnTo>
                    <a:pt x="49" y="459"/>
                  </a:lnTo>
                  <a:lnTo>
                    <a:pt x="58" y="472"/>
                  </a:lnTo>
                  <a:lnTo>
                    <a:pt x="67" y="483"/>
                  </a:lnTo>
                  <a:lnTo>
                    <a:pt x="76" y="494"/>
                  </a:lnTo>
                  <a:lnTo>
                    <a:pt x="87" y="505"/>
                  </a:lnTo>
                  <a:lnTo>
                    <a:pt x="91" y="509"/>
                  </a:lnTo>
                  <a:lnTo>
                    <a:pt x="97" y="511"/>
                  </a:lnTo>
                  <a:lnTo>
                    <a:pt x="102" y="513"/>
                  </a:lnTo>
                  <a:lnTo>
                    <a:pt x="108" y="514"/>
                  </a:lnTo>
                  <a:lnTo>
                    <a:pt x="114" y="513"/>
                  </a:lnTo>
                  <a:lnTo>
                    <a:pt x="119" y="511"/>
                  </a:lnTo>
                  <a:lnTo>
                    <a:pt x="125" y="509"/>
                  </a:lnTo>
                  <a:lnTo>
                    <a:pt x="129" y="5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2" name="TextBox 501"/>
          <p:cNvSpPr txBox="1"/>
          <p:nvPr/>
        </p:nvSpPr>
        <p:spPr>
          <a:xfrm>
            <a:off x="853507" y="1171332"/>
            <a:ext cx="10484988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Lorem Ipsum has been the industry's standard dummy text ever since the 1500s, when an unknown printer took a galley of type and scrambled it to make a type specimen </a:t>
            </a:r>
            <a:r>
              <a:rPr lang="en-US" sz="1200" dirty="0" smtClean="0"/>
              <a:t>book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7375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4" name="TextBox 104"/>
          <p:cNvSpPr txBox="1"/>
          <p:nvPr/>
        </p:nvSpPr>
        <p:spPr>
          <a:xfrm>
            <a:off x="6814428" y="1547454"/>
            <a:ext cx="3765073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 smtClean="0"/>
              <a:t>Lorem</a:t>
            </a:r>
            <a:r>
              <a:rPr lang="en-US" sz="1200" dirty="0" smtClean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</a:t>
            </a:r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has been the industry's standard dummy text ever since the </a:t>
            </a:r>
            <a:r>
              <a:rPr lang="en-US" sz="1200" dirty="0" smtClean="0"/>
              <a:t>1500s.</a:t>
            </a:r>
            <a:endParaRPr lang="en-US" sz="1200" dirty="0"/>
          </a:p>
        </p:txBody>
      </p:sp>
      <p:sp>
        <p:nvSpPr>
          <p:cNvPr id="516" name="TextBox 182"/>
          <p:cNvSpPr txBox="1"/>
          <p:nvPr/>
        </p:nvSpPr>
        <p:spPr>
          <a:xfrm>
            <a:off x="6814428" y="2723117"/>
            <a:ext cx="3765073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 smtClean="0"/>
              <a:t>Lorem</a:t>
            </a:r>
            <a:r>
              <a:rPr lang="en-US" sz="1200" dirty="0" smtClean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</a:t>
            </a:r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has been the industry's standard dummy text ever since the </a:t>
            </a:r>
            <a:r>
              <a:rPr lang="en-US" sz="1200" dirty="0" smtClean="0"/>
              <a:t>1500s.</a:t>
            </a:r>
            <a:endParaRPr lang="en-US" sz="1200" dirty="0"/>
          </a:p>
        </p:txBody>
      </p:sp>
      <p:sp>
        <p:nvSpPr>
          <p:cNvPr id="518" name="TextBox 185"/>
          <p:cNvSpPr txBox="1"/>
          <p:nvPr/>
        </p:nvSpPr>
        <p:spPr>
          <a:xfrm>
            <a:off x="6814428" y="4197635"/>
            <a:ext cx="3765073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 smtClean="0"/>
              <a:t>Lorem</a:t>
            </a:r>
            <a:r>
              <a:rPr lang="en-US" sz="1200" dirty="0" smtClean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</a:t>
            </a:r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has been the industry's standard dummy text ever since the </a:t>
            </a:r>
            <a:r>
              <a:rPr lang="en-US" sz="1200" dirty="0" smtClean="0"/>
              <a:t>1500s.</a:t>
            </a:r>
            <a:endParaRPr lang="en-US" sz="1200" dirty="0"/>
          </a:p>
        </p:txBody>
      </p:sp>
      <p:sp>
        <p:nvSpPr>
          <p:cNvPr id="520" name="TextBox 188"/>
          <p:cNvSpPr txBox="1"/>
          <p:nvPr/>
        </p:nvSpPr>
        <p:spPr>
          <a:xfrm>
            <a:off x="6814428" y="5672153"/>
            <a:ext cx="3765073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 smtClean="0"/>
              <a:t>Lorem</a:t>
            </a:r>
            <a:r>
              <a:rPr lang="en-US" sz="1200" dirty="0" smtClean="0"/>
              <a:t> </a:t>
            </a:r>
            <a:r>
              <a:rPr lang="en-US" sz="1200" dirty="0" err="1"/>
              <a:t>Ipsum</a:t>
            </a:r>
            <a:r>
              <a:rPr lang="en-US" sz="1200" dirty="0"/>
              <a:t> is simply dummy text of the printing and typesetting industry. </a:t>
            </a:r>
            <a:r>
              <a:rPr lang="en-US" sz="1200" dirty="0" err="1"/>
              <a:t>Lorem</a:t>
            </a:r>
            <a:r>
              <a:rPr lang="en-US" sz="1200" dirty="0"/>
              <a:t> </a:t>
            </a:r>
            <a:r>
              <a:rPr lang="en-US" sz="1200" dirty="0" err="1"/>
              <a:t>Ipsum</a:t>
            </a:r>
            <a:r>
              <a:rPr lang="en-US" sz="1200" dirty="0"/>
              <a:t> has been the industry's standard dummy text ever since the </a:t>
            </a:r>
            <a:r>
              <a:rPr lang="en-US" sz="1200" dirty="0" smtClean="0"/>
              <a:t>1500s.</a:t>
            </a:r>
            <a:endParaRPr lang="en-US" sz="1200" dirty="0"/>
          </a:p>
        </p:txBody>
      </p:sp>
      <p:grpSp>
        <p:nvGrpSpPr>
          <p:cNvPr id="2" name="Group 1"/>
          <p:cNvGrpSpPr/>
          <p:nvPr/>
        </p:nvGrpSpPr>
        <p:grpSpPr>
          <a:xfrm>
            <a:off x="1612500" y="1329865"/>
            <a:ext cx="4977838" cy="4961462"/>
            <a:chOff x="1966751" y="1498241"/>
            <a:chExt cx="4771784" cy="4756085"/>
          </a:xfrm>
        </p:grpSpPr>
        <p:cxnSp>
          <p:nvCxnSpPr>
            <p:cNvPr id="515" name="Straight Connector 514"/>
            <p:cNvCxnSpPr/>
            <p:nvPr/>
          </p:nvCxnSpPr>
          <p:spPr>
            <a:xfrm flipV="1">
              <a:off x="4280661" y="1976396"/>
              <a:ext cx="2457874" cy="1"/>
            </a:xfrm>
            <a:prstGeom prst="line">
              <a:avLst/>
            </a:prstGeom>
            <a:ln>
              <a:solidFill>
                <a:srgbClr val="016AA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1" name="Straight Connector 520"/>
            <p:cNvCxnSpPr/>
            <p:nvPr/>
          </p:nvCxnSpPr>
          <p:spPr>
            <a:xfrm>
              <a:off x="4619480" y="5928220"/>
              <a:ext cx="2119055" cy="1"/>
            </a:xfrm>
            <a:prstGeom prst="line">
              <a:avLst/>
            </a:prstGeom>
            <a:ln>
              <a:solidFill>
                <a:srgbClr val="AAAAAA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9" name="Straight Connector 518"/>
            <p:cNvCxnSpPr/>
            <p:nvPr/>
          </p:nvCxnSpPr>
          <p:spPr>
            <a:xfrm>
              <a:off x="5715033" y="4512834"/>
              <a:ext cx="1023502" cy="1"/>
            </a:xfrm>
            <a:prstGeom prst="line">
              <a:avLst/>
            </a:prstGeom>
            <a:ln>
              <a:solidFill>
                <a:srgbClr val="FEA34F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Straight Connector 516"/>
            <p:cNvCxnSpPr/>
            <p:nvPr/>
          </p:nvCxnSpPr>
          <p:spPr>
            <a:xfrm>
              <a:off x="5769427" y="3097447"/>
              <a:ext cx="969108" cy="1"/>
            </a:xfrm>
            <a:prstGeom prst="line">
              <a:avLst/>
            </a:prstGeom>
            <a:ln>
              <a:solidFill>
                <a:srgbClr val="46B688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7" name="Oval 306"/>
            <p:cNvSpPr>
              <a:spLocks noChangeArrowheads="1"/>
            </p:cNvSpPr>
            <p:nvPr/>
          </p:nvSpPr>
          <p:spPr bwMode="auto">
            <a:xfrm>
              <a:off x="1966751" y="2189756"/>
              <a:ext cx="3686160" cy="368615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15" name="Freeform 314"/>
            <p:cNvSpPr>
              <a:spLocks/>
            </p:cNvSpPr>
            <p:nvPr/>
          </p:nvSpPr>
          <p:spPr bwMode="auto">
            <a:xfrm>
              <a:off x="3768532" y="4715706"/>
              <a:ext cx="1411844" cy="1538620"/>
            </a:xfrm>
            <a:custGeom>
              <a:avLst/>
              <a:gdLst>
                <a:gd name="T0" fmla="*/ 0 w 310"/>
                <a:gd name="T1" fmla="*/ 28 h 338"/>
                <a:gd name="T2" fmla="*/ 1 w 310"/>
                <a:gd name="T3" fmla="*/ 328 h 338"/>
                <a:gd name="T4" fmla="*/ 310 w 310"/>
                <a:gd name="T5" fmla="*/ 215 h 338"/>
                <a:gd name="T6" fmla="*/ 273 w 310"/>
                <a:gd name="T7" fmla="*/ 96 h 338"/>
                <a:gd name="T8" fmla="*/ 175 w 310"/>
                <a:gd name="T9" fmla="*/ 20 h 338"/>
                <a:gd name="T10" fmla="*/ 105 w 310"/>
                <a:gd name="T11" fmla="*/ 0 h 338"/>
                <a:gd name="T12" fmla="*/ 0 w 310"/>
                <a:gd name="T13" fmla="*/ 2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338">
                  <a:moveTo>
                    <a:pt x="0" y="28"/>
                  </a:moveTo>
                  <a:cubicBezTo>
                    <a:pt x="1" y="328"/>
                    <a:pt x="1" y="328"/>
                    <a:pt x="1" y="328"/>
                  </a:cubicBezTo>
                  <a:cubicBezTo>
                    <a:pt x="1" y="328"/>
                    <a:pt x="174" y="338"/>
                    <a:pt x="310" y="215"/>
                  </a:cubicBezTo>
                  <a:cubicBezTo>
                    <a:pt x="273" y="96"/>
                    <a:pt x="273" y="96"/>
                    <a:pt x="273" y="96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0" y="28"/>
                  </a:lnTo>
                  <a:close/>
                </a:path>
              </a:pathLst>
            </a:custGeom>
            <a:solidFill>
              <a:srgbClr val="AAAAAA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16" name="Freeform 315"/>
            <p:cNvSpPr>
              <a:spLocks/>
            </p:cNvSpPr>
            <p:nvPr/>
          </p:nvSpPr>
          <p:spPr bwMode="auto">
            <a:xfrm>
              <a:off x="4246830" y="4041479"/>
              <a:ext cx="1811386" cy="1774888"/>
            </a:xfrm>
            <a:custGeom>
              <a:avLst/>
              <a:gdLst>
                <a:gd name="T0" fmla="*/ 231 w 398"/>
                <a:gd name="T1" fmla="*/ 390 h 390"/>
                <a:gd name="T2" fmla="*/ 0 w 398"/>
                <a:gd name="T3" fmla="*/ 148 h 390"/>
                <a:gd name="T4" fmla="*/ 80 w 398"/>
                <a:gd name="T5" fmla="*/ 28 h 390"/>
                <a:gd name="T6" fmla="*/ 398 w 398"/>
                <a:gd name="T7" fmla="*/ 0 h 390"/>
                <a:gd name="T8" fmla="*/ 396 w 398"/>
                <a:gd name="T9" fmla="*/ 27 h 390"/>
                <a:gd name="T10" fmla="*/ 231 w 398"/>
                <a:gd name="T11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8" h="390">
                  <a:moveTo>
                    <a:pt x="231" y="390"/>
                  </a:moveTo>
                  <a:cubicBezTo>
                    <a:pt x="0" y="148"/>
                    <a:pt x="0" y="148"/>
                    <a:pt x="0" y="14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96" y="27"/>
                    <a:pt x="388" y="250"/>
                    <a:pt x="231" y="390"/>
                  </a:cubicBezTo>
                  <a:close/>
                </a:path>
              </a:pathLst>
            </a:custGeom>
            <a:solidFill>
              <a:srgbClr val="FEA34F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3" name="Freeform 502"/>
            <p:cNvSpPr>
              <a:spLocks/>
            </p:cNvSpPr>
            <p:nvPr/>
          </p:nvSpPr>
          <p:spPr bwMode="auto">
            <a:xfrm>
              <a:off x="4360162" y="2303087"/>
              <a:ext cx="1840198" cy="1867090"/>
            </a:xfrm>
            <a:custGeom>
              <a:avLst/>
              <a:gdLst>
                <a:gd name="T0" fmla="*/ 403 w 404"/>
                <a:gd name="T1" fmla="*/ 409 h 410"/>
                <a:gd name="T2" fmla="*/ 55 w 404"/>
                <a:gd name="T3" fmla="*/ 410 h 410"/>
                <a:gd name="T4" fmla="*/ 0 w 404"/>
                <a:gd name="T5" fmla="*/ 256 h 410"/>
                <a:gd name="T6" fmla="*/ 222 w 404"/>
                <a:gd name="T7" fmla="*/ 0 h 410"/>
                <a:gd name="T8" fmla="*/ 244 w 404"/>
                <a:gd name="T9" fmla="*/ 17 h 410"/>
                <a:gd name="T10" fmla="*/ 403 w 404"/>
                <a:gd name="T11" fmla="*/ 409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4" h="410">
                  <a:moveTo>
                    <a:pt x="403" y="409"/>
                  </a:moveTo>
                  <a:cubicBezTo>
                    <a:pt x="55" y="410"/>
                    <a:pt x="55" y="410"/>
                    <a:pt x="55" y="410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44" y="17"/>
                    <a:pt x="404" y="167"/>
                    <a:pt x="403" y="409"/>
                  </a:cubicBezTo>
                  <a:close/>
                </a:path>
              </a:pathLst>
            </a:custGeom>
            <a:solidFill>
              <a:srgbClr val="46B688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4" name="Freeform 503"/>
            <p:cNvSpPr>
              <a:spLocks/>
            </p:cNvSpPr>
            <p:nvPr/>
          </p:nvSpPr>
          <p:spPr bwMode="auto">
            <a:xfrm>
              <a:off x="3595653" y="1498241"/>
              <a:ext cx="1957372" cy="1984263"/>
            </a:xfrm>
            <a:custGeom>
              <a:avLst/>
              <a:gdLst>
                <a:gd name="T0" fmla="*/ 0 w 430"/>
                <a:gd name="T1" fmla="*/ 6 h 436"/>
                <a:gd name="T2" fmla="*/ 7 w 430"/>
                <a:gd name="T3" fmla="*/ 383 h 436"/>
                <a:gd name="T4" fmla="*/ 177 w 430"/>
                <a:gd name="T5" fmla="*/ 436 h 436"/>
                <a:gd name="T6" fmla="*/ 430 w 430"/>
                <a:gd name="T7" fmla="*/ 175 h 436"/>
                <a:gd name="T8" fmla="*/ 0 w 430"/>
                <a:gd name="T9" fmla="*/ 6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0" h="436">
                  <a:moveTo>
                    <a:pt x="0" y="6"/>
                  </a:moveTo>
                  <a:cubicBezTo>
                    <a:pt x="7" y="383"/>
                    <a:pt x="7" y="383"/>
                    <a:pt x="7" y="383"/>
                  </a:cubicBezTo>
                  <a:cubicBezTo>
                    <a:pt x="177" y="436"/>
                    <a:pt x="177" y="436"/>
                    <a:pt x="177" y="436"/>
                  </a:cubicBezTo>
                  <a:cubicBezTo>
                    <a:pt x="430" y="175"/>
                    <a:pt x="430" y="175"/>
                    <a:pt x="430" y="175"/>
                  </a:cubicBezTo>
                  <a:cubicBezTo>
                    <a:pt x="430" y="175"/>
                    <a:pt x="262" y="0"/>
                    <a:pt x="0" y="6"/>
                  </a:cubicBezTo>
                  <a:close/>
                </a:path>
              </a:pathLst>
            </a:custGeom>
            <a:solidFill>
              <a:srgbClr val="016AA3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505" name="Group 504"/>
            <p:cNvGrpSpPr/>
            <p:nvPr/>
          </p:nvGrpSpPr>
          <p:grpSpPr>
            <a:xfrm>
              <a:off x="2844592" y="3067595"/>
              <a:ext cx="1930480" cy="1930479"/>
              <a:chOff x="1497013" y="3295650"/>
              <a:chExt cx="1595438" cy="1595437"/>
            </a:xfrm>
          </p:grpSpPr>
          <p:sp>
            <p:nvSpPr>
              <p:cNvPr id="506" name="Oval 505"/>
              <p:cNvSpPr>
                <a:spLocks noChangeArrowheads="1"/>
              </p:cNvSpPr>
              <p:nvPr/>
            </p:nvSpPr>
            <p:spPr bwMode="auto">
              <a:xfrm>
                <a:off x="1497013" y="3295650"/>
                <a:ext cx="1595438" cy="1595437"/>
              </a:xfrm>
              <a:prstGeom prst="ellipse">
                <a:avLst/>
              </a:prstGeom>
              <a:solidFill>
                <a:schemeClr val="bg1"/>
              </a:solidFill>
              <a:ln w="3175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07" name="Oval 506"/>
              <p:cNvSpPr>
                <a:spLocks noChangeArrowheads="1"/>
              </p:cNvSpPr>
              <p:nvPr/>
            </p:nvSpPr>
            <p:spPr bwMode="auto">
              <a:xfrm>
                <a:off x="1625600" y="3424238"/>
                <a:ext cx="1338263" cy="1338262"/>
              </a:xfrm>
              <a:prstGeom prst="ellipse">
                <a:avLst/>
              </a:prstGeom>
              <a:solidFill>
                <a:srgbClr val="AAAAAA"/>
              </a:solidFill>
              <a:ln w="3175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08" name="Oval 507"/>
              <p:cNvSpPr>
                <a:spLocks noChangeArrowheads="1"/>
              </p:cNvSpPr>
              <p:nvPr/>
            </p:nvSpPr>
            <p:spPr bwMode="auto">
              <a:xfrm>
                <a:off x="1733106" y="3531743"/>
                <a:ext cx="1123251" cy="1123251"/>
              </a:xfrm>
              <a:prstGeom prst="ellipse">
                <a:avLst/>
              </a:prstGeom>
              <a:solidFill>
                <a:schemeClr val="bg1"/>
              </a:solidFill>
              <a:ln w="3175" cap="flat">
                <a:noFill/>
                <a:prstDash val="solid"/>
                <a:miter lim="800000"/>
                <a:headEnd/>
                <a:tailEnd/>
              </a:ln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510" name="TextBox 105"/>
            <p:cNvSpPr txBox="1"/>
            <p:nvPr/>
          </p:nvSpPr>
          <p:spPr>
            <a:xfrm>
              <a:off x="3794295" y="2389459"/>
              <a:ext cx="993205" cy="15398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Lorem Ipsum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11" name="TextBox 128"/>
            <p:cNvSpPr txBox="1"/>
            <p:nvPr/>
          </p:nvSpPr>
          <p:spPr>
            <a:xfrm>
              <a:off x="4875831" y="3443084"/>
              <a:ext cx="993205" cy="15398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512" name="TextBox 133"/>
            <p:cNvSpPr txBox="1"/>
            <p:nvPr/>
          </p:nvSpPr>
          <p:spPr>
            <a:xfrm>
              <a:off x="4778966" y="4733793"/>
              <a:ext cx="993205" cy="15398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513" name="TextBox 138"/>
            <p:cNvSpPr txBox="1"/>
            <p:nvPr/>
          </p:nvSpPr>
          <p:spPr>
            <a:xfrm>
              <a:off x="3837136" y="5508569"/>
              <a:ext cx="993205" cy="15398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522" name="TextBox 105"/>
            <p:cNvSpPr txBox="1"/>
            <p:nvPr/>
          </p:nvSpPr>
          <p:spPr>
            <a:xfrm>
              <a:off x="3851488" y="1972356"/>
              <a:ext cx="993205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200" dirty="0" smtClean="0">
                  <a:solidFill>
                    <a:schemeClr val="bg1"/>
                  </a:solidFill>
                  <a:latin typeface="+mj-lt"/>
                </a:rPr>
                <a:t>01</a:t>
              </a:r>
              <a:endParaRPr lang="en-US" sz="3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23" name="TextBox 105"/>
            <p:cNvSpPr txBox="1"/>
            <p:nvPr/>
          </p:nvSpPr>
          <p:spPr>
            <a:xfrm>
              <a:off x="4875831" y="3020710"/>
              <a:ext cx="993205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200" dirty="0" smtClean="0">
                  <a:solidFill>
                    <a:schemeClr val="bg1"/>
                  </a:solidFill>
                  <a:latin typeface="+mj-lt"/>
                </a:rPr>
                <a:t>02</a:t>
              </a:r>
              <a:endParaRPr lang="en-US" sz="3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24" name="TextBox 105"/>
            <p:cNvSpPr txBox="1"/>
            <p:nvPr/>
          </p:nvSpPr>
          <p:spPr>
            <a:xfrm>
              <a:off x="4787500" y="4334196"/>
              <a:ext cx="993205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200" dirty="0" smtClean="0">
                  <a:solidFill>
                    <a:schemeClr val="bg1"/>
                  </a:solidFill>
                  <a:latin typeface="+mj-lt"/>
                </a:rPr>
                <a:t>03</a:t>
              </a:r>
              <a:endParaRPr lang="en-US" sz="3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25" name="TextBox 105"/>
            <p:cNvSpPr txBox="1"/>
            <p:nvPr/>
          </p:nvSpPr>
          <p:spPr>
            <a:xfrm>
              <a:off x="3851488" y="5105389"/>
              <a:ext cx="993205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3200" dirty="0" smtClean="0">
                  <a:solidFill>
                    <a:schemeClr val="bg1"/>
                  </a:solidFill>
                  <a:latin typeface="+mj-lt"/>
                </a:rPr>
                <a:t>04</a:t>
              </a:r>
              <a:endParaRPr lang="en-US" sz="32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526" name="Group 525"/>
            <p:cNvGrpSpPr/>
            <p:nvPr/>
          </p:nvGrpSpPr>
          <p:grpSpPr>
            <a:xfrm>
              <a:off x="3486710" y="3711635"/>
              <a:ext cx="642400" cy="642400"/>
              <a:chOff x="7613650" y="1387475"/>
              <a:chExt cx="284163" cy="284163"/>
            </a:xfrm>
            <a:solidFill>
              <a:srgbClr val="AAAAAA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527" name="Freeform 4359"/>
              <p:cNvSpPr>
                <a:spLocks noEditPoints="1"/>
              </p:cNvSpPr>
              <p:nvPr/>
            </p:nvSpPr>
            <p:spPr bwMode="auto">
              <a:xfrm>
                <a:off x="7613650" y="1471613"/>
                <a:ext cx="200025" cy="200025"/>
              </a:xfrm>
              <a:custGeom>
                <a:avLst/>
                <a:gdLst>
                  <a:gd name="T0" fmla="*/ 276 w 629"/>
                  <a:gd name="T1" fmla="*/ 436 h 629"/>
                  <a:gd name="T2" fmla="*/ 233 w 629"/>
                  <a:gd name="T3" fmla="*/ 411 h 629"/>
                  <a:gd name="T4" fmla="*/ 202 w 629"/>
                  <a:gd name="T5" fmla="*/ 374 h 629"/>
                  <a:gd name="T6" fmla="*/ 187 w 629"/>
                  <a:gd name="T7" fmla="*/ 325 h 629"/>
                  <a:gd name="T8" fmla="*/ 192 w 629"/>
                  <a:gd name="T9" fmla="*/ 274 h 629"/>
                  <a:gd name="T10" fmla="*/ 216 w 629"/>
                  <a:gd name="T11" fmla="*/ 231 h 629"/>
                  <a:gd name="T12" fmla="*/ 253 w 629"/>
                  <a:gd name="T13" fmla="*/ 199 h 629"/>
                  <a:gd name="T14" fmla="*/ 301 w 629"/>
                  <a:gd name="T15" fmla="*/ 184 h 629"/>
                  <a:gd name="T16" fmla="*/ 352 w 629"/>
                  <a:gd name="T17" fmla="*/ 190 h 629"/>
                  <a:gd name="T18" fmla="*/ 395 w 629"/>
                  <a:gd name="T19" fmla="*/ 213 h 629"/>
                  <a:gd name="T20" fmla="*/ 426 w 629"/>
                  <a:gd name="T21" fmla="*/ 252 h 629"/>
                  <a:gd name="T22" fmla="*/ 441 w 629"/>
                  <a:gd name="T23" fmla="*/ 300 h 629"/>
                  <a:gd name="T24" fmla="*/ 436 w 629"/>
                  <a:gd name="T25" fmla="*/ 350 h 629"/>
                  <a:gd name="T26" fmla="*/ 413 w 629"/>
                  <a:gd name="T27" fmla="*/ 394 h 629"/>
                  <a:gd name="T28" fmla="*/ 375 w 629"/>
                  <a:gd name="T29" fmla="*/ 425 h 629"/>
                  <a:gd name="T30" fmla="*/ 327 w 629"/>
                  <a:gd name="T31" fmla="*/ 440 h 629"/>
                  <a:gd name="T32" fmla="*/ 572 w 629"/>
                  <a:gd name="T33" fmla="*/ 346 h 629"/>
                  <a:gd name="T34" fmla="*/ 574 w 629"/>
                  <a:gd name="T35" fmla="*/ 302 h 629"/>
                  <a:gd name="T36" fmla="*/ 620 w 629"/>
                  <a:gd name="T37" fmla="*/ 241 h 629"/>
                  <a:gd name="T38" fmla="*/ 628 w 629"/>
                  <a:gd name="T39" fmla="*/ 231 h 629"/>
                  <a:gd name="T40" fmla="*/ 625 w 629"/>
                  <a:gd name="T41" fmla="*/ 219 h 629"/>
                  <a:gd name="T42" fmla="*/ 544 w 629"/>
                  <a:gd name="T43" fmla="*/ 84 h 629"/>
                  <a:gd name="T44" fmla="*/ 532 w 629"/>
                  <a:gd name="T45" fmla="*/ 83 h 629"/>
                  <a:gd name="T46" fmla="*/ 447 w 629"/>
                  <a:gd name="T47" fmla="*/ 88 h 629"/>
                  <a:gd name="T48" fmla="*/ 407 w 629"/>
                  <a:gd name="T49" fmla="*/ 69 h 629"/>
                  <a:gd name="T50" fmla="*/ 404 w 629"/>
                  <a:gd name="T51" fmla="*/ 7 h 629"/>
                  <a:gd name="T52" fmla="*/ 395 w 629"/>
                  <a:gd name="T53" fmla="*/ 0 h 629"/>
                  <a:gd name="T54" fmla="*/ 235 w 629"/>
                  <a:gd name="T55" fmla="*/ 1 h 629"/>
                  <a:gd name="T56" fmla="*/ 227 w 629"/>
                  <a:gd name="T57" fmla="*/ 10 h 629"/>
                  <a:gd name="T58" fmla="*/ 216 w 629"/>
                  <a:gd name="T59" fmla="*/ 72 h 629"/>
                  <a:gd name="T60" fmla="*/ 177 w 629"/>
                  <a:gd name="T61" fmla="*/ 91 h 629"/>
                  <a:gd name="T62" fmla="*/ 98 w 629"/>
                  <a:gd name="T63" fmla="*/ 84 h 629"/>
                  <a:gd name="T64" fmla="*/ 87 w 629"/>
                  <a:gd name="T65" fmla="*/ 83 h 629"/>
                  <a:gd name="T66" fmla="*/ 78 w 629"/>
                  <a:gd name="T67" fmla="*/ 90 h 629"/>
                  <a:gd name="T68" fmla="*/ 1 w 629"/>
                  <a:gd name="T69" fmla="*/ 228 h 629"/>
                  <a:gd name="T70" fmla="*/ 57 w 629"/>
                  <a:gd name="T71" fmla="*/ 269 h 629"/>
                  <a:gd name="T72" fmla="*/ 54 w 629"/>
                  <a:gd name="T73" fmla="*/ 313 h 629"/>
                  <a:gd name="T74" fmla="*/ 57 w 629"/>
                  <a:gd name="T75" fmla="*/ 355 h 629"/>
                  <a:gd name="T76" fmla="*/ 2 w 629"/>
                  <a:gd name="T77" fmla="*/ 391 h 629"/>
                  <a:gd name="T78" fmla="*/ 1 w 629"/>
                  <a:gd name="T79" fmla="*/ 402 h 629"/>
                  <a:gd name="T80" fmla="*/ 86 w 629"/>
                  <a:gd name="T81" fmla="*/ 543 h 629"/>
                  <a:gd name="T82" fmla="*/ 98 w 629"/>
                  <a:gd name="T83" fmla="*/ 542 h 629"/>
                  <a:gd name="T84" fmla="*/ 177 w 629"/>
                  <a:gd name="T85" fmla="*/ 533 h 629"/>
                  <a:gd name="T86" fmla="*/ 216 w 629"/>
                  <a:gd name="T87" fmla="*/ 552 h 629"/>
                  <a:gd name="T88" fmla="*/ 227 w 629"/>
                  <a:gd name="T89" fmla="*/ 620 h 629"/>
                  <a:gd name="T90" fmla="*/ 235 w 629"/>
                  <a:gd name="T91" fmla="*/ 628 h 629"/>
                  <a:gd name="T92" fmla="*/ 395 w 629"/>
                  <a:gd name="T93" fmla="*/ 629 h 629"/>
                  <a:gd name="T94" fmla="*/ 404 w 629"/>
                  <a:gd name="T95" fmla="*/ 623 h 629"/>
                  <a:gd name="T96" fmla="*/ 407 w 629"/>
                  <a:gd name="T97" fmla="*/ 556 h 629"/>
                  <a:gd name="T98" fmla="*/ 447 w 629"/>
                  <a:gd name="T99" fmla="*/ 538 h 629"/>
                  <a:gd name="T100" fmla="*/ 533 w 629"/>
                  <a:gd name="T101" fmla="*/ 543 h 629"/>
                  <a:gd name="T102" fmla="*/ 545 w 629"/>
                  <a:gd name="T103" fmla="*/ 543 h 629"/>
                  <a:gd name="T104" fmla="*/ 627 w 629"/>
                  <a:gd name="T105" fmla="*/ 405 h 629"/>
                  <a:gd name="T106" fmla="*/ 628 w 629"/>
                  <a:gd name="T107" fmla="*/ 394 h 629"/>
                  <a:gd name="T108" fmla="*/ 621 w 629"/>
                  <a:gd name="T109" fmla="*/ 385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9" h="629">
                    <a:moveTo>
                      <a:pt x="314" y="441"/>
                    </a:moveTo>
                    <a:lnTo>
                      <a:pt x="301" y="440"/>
                    </a:lnTo>
                    <a:lnTo>
                      <a:pt x="288" y="439"/>
                    </a:lnTo>
                    <a:lnTo>
                      <a:pt x="276" y="436"/>
                    </a:lnTo>
                    <a:lnTo>
                      <a:pt x="264" y="430"/>
                    </a:lnTo>
                    <a:lnTo>
                      <a:pt x="253" y="425"/>
                    </a:lnTo>
                    <a:lnTo>
                      <a:pt x="242" y="418"/>
                    </a:lnTo>
                    <a:lnTo>
                      <a:pt x="233" y="411"/>
                    </a:lnTo>
                    <a:lnTo>
                      <a:pt x="223" y="404"/>
                    </a:lnTo>
                    <a:lnTo>
                      <a:pt x="216" y="394"/>
                    </a:lnTo>
                    <a:lnTo>
                      <a:pt x="208" y="384"/>
                    </a:lnTo>
                    <a:lnTo>
                      <a:pt x="202" y="374"/>
                    </a:lnTo>
                    <a:lnTo>
                      <a:pt x="196" y="362"/>
                    </a:lnTo>
                    <a:lnTo>
                      <a:pt x="192" y="350"/>
                    </a:lnTo>
                    <a:lnTo>
                      <a:pt x="189" y="338"/>
                    </a:lnTo>
                    <a:lnTo>
                      <a:pt x="187" y="325"/>
                    </a:lnTo>
                    <a:lnTo>
                      <a:pt x="186" y="313"/>
                    </a:lnTo>
                    <a:lnTo>
                      <a:pt x="187" y="300"/>
                    </a:lnTo>
                    <a:lnTo>
                      <a:pt x="189" y="287"/>
                    </a:lnTo>
                    <a:lnTo>
                      <a:pt x="192" y="274"/>
                    </a:lnTo>
                    <a:lnTo>
                      <a:pt x="196" y="262"/>
                    </a:lnTo>
                    <a:lnTo>
                      <a:pt x="202" y="252"/>
                    </a:lnTo>
                    <a:lnTo>
                      <a:pt x="208" y="241"/>
                    </a:lnTo>
                    <a:lnTo>
                      <a:pt x="216" y="231"/>
                    </a:lnTo>
                    <a:lnTo>
                      <a:pt x="223" y="222"/>
                    </a:lnTo>
                    <a:lnTo>
                      <a:pt x="233" y="213"/>
                    </a:lnTo>
                    <a:lnTo>
                      <a:pt x="242" y="206"/>
                    </a:lnTo>
                    <a:lnTo>
                      <a:pt x="253" y="199"/>
                    </a:lnTo>
                    <a:lnTo>
                      <a:pt x="264" y="194"/>
                    </a:lnTo>
                    <a:lnTo>
                      <a:pt x="276" y="190"/>
                    </a:lnTo>
                    <a:lnTo>
                      <a:pt x="288" y="186"/>
                    </a:lnTo>
                    <a:lnTo>
                      <a:pt x="301" y="184"/>
                    </a:lnTo>
                    <a:lnTo>
                      <a:pt x="314" y="184"/>
                    </a:lnTo>
                    <a:lnTo>
                      <a:pt x="327" y="184"/>
                    </a:lnTo>
                    <a:lnTo>
                      <a:pt x="340" y="186"/>
                    </a:lnTo>
                    <a:lnTo>
                      <a:pt x="352" y="190"/>
                    </a:lnTo>
                    <a:lnTo>
                      <a:pt x="363" y="194"/>
                    </a:lnTo>
                    <a:lnTo>
                      <a:pt x="375" y="199"/>
                    </a:lnTo>
                    <a:lnTo>
                      <a:pt x="386" y="206"/>
                    </a:lnTo>
                    <a:lnTo>
                      <a:pt x="395" y="213"/>
                    </a:lnTo>
                    <a:lnTo>
                      <a:pt x="404" y="222"/>
                    </a:lnTo>
                    <a:lnTo>
                      <a:pt x="413" y="231"/>
                    </a:lnTo>
                    <a:lnTo>
                      <a:pt x="420" y="241"/>
                    </a:lnTo>
                    <a:lnTo>
                      <a:pt x="426" y="252"/>
                    </a:lnTo>
                    <a:lnTo>
                      <a:pt x="432" y="262"/>
                    </a:lnTo>
                    <a:lnTo>
                      <a:pt x="436" y="274"/>
                    </a:lnTo>
                    <a:lnTo>
                      <a:pt x="439" y="287"/>
                    </a:lnTo>
                    <a:lnTo>
                      <a:pt x="441" y="300"/>
                    </a:lnTo>
                    <a:lnTo>
                      <a:pt x="443" y="313"/>
                    </a:lnTo>
                    <a:lnTo>
                      <a:pt x="441" y="325"/>
                    </a:lnTo>
                    <a:lnTo>
                      <a:pt x="439" y="338"/>
                    </a:lnTo>
                    <a:lnTo>
                      <a:pt x="436" y="350"/>
                    </a:lnTo>
                    <a:lnTo>
                      <a:pt x="432" y="362"/>
                    </a:lnTo>
                    <a:lnTo>
                      <a:pt x="426" y="374"/>
                    </a:lnTo>
                    <a:lnTo>
                      <a:pt x="420" y="384"/>
                    </a:lnTo>
                    <a:lnTo>
                      <a:pt x="413" y="394"/>
                    </a:lnTo>
                    <a:lnTo>
                      <a:pt x="404" y="404"/>
                    </a:lnTo>
                    <a:lnTo>
                      <a:pt x="395" y="411"/>
                    </a:lnTo>
                    <a:lnTo>
                      <a:pt x="386" y="418"/>
                    </a:lnTo>
                    <a:lnTo>
                      <a:pt x="375" y="425"/>
                    </a:lnTo>
                    <a:lnTo>
                      <a:pt x="363" y="430"/>
                    </a:lnTo>
                    <a:lnTo>
                      <a:pt x="352" y="436"/>
                    </a:lnTo>
                    <a:lnTo>
                      <a:pt x="340" y="439"/>
                    </a:lnTo>
                    <a:lnTo>
                      <a:pt x="327" y="440"/>
                    </a:lnTo>
                    <a:lnTo>
                      <a:pt x="314" y="441"/>
                    </a:lnTo>
                    <a:close/>
                    <a:moveTo>
                      <a:pt x="621" y="385"/>
                    </a:moveTo>
                    <a:lnTo>
                      <a:pt x="571" y="355"/>
                    </a:lnTo>
                    <a:lnTo>
                      <a:pt x="572" y="346"/>
                    </a:lnTo>
                    <a:lnTo>
                      <a:pt x="573" y="335"/>
                    </a:lnTo>
                    <a:lnTo>
                      <a:pt x="574" y="323"/>
                    </a:lnTo>
                    <a:lnTo>
                      <a:pt x="574" y="313"/>
                    </a:lnTo>
                    <a:lnTo>
                      <a:pt x="574" y="302"/>
                    </a:lnTo>
                    <a:lnTo>
                      <a:pt x="573" y="291"/>
                    </a:lnTo>
                    <a:lnTo>
                      <a:pt x="572" y="280"/>
                    </a:lnTo>
                    <a:lnTo>
                      <a:pt x="570" y="269"/>
                    </a:lnTo>
                    <a:lnTo>
                      <a:pt x="620" y="241"/>
                    </a:lnTo>
                    <a:lnTo>
                      <a:pt x="623" y="239"/>
                    </a:lnTo>
                    <a:lnTo>
                      <a:pt x="624" y="237"/>
                    </a:lnTo>
                    <a:lnTo>
                      <a:pt x="627" y="234"/>
                    </a:lnTo>
                    <a:lnTo>
                      <a:pt x="628" y="231"/>
                    </a:lnTo>
                    <a:lnTo>
                      <a:pt x="628" y="228"/>
                    </a:lnTo>
                    <a:lnTo>
                      <a:pt x="628" y="226"/>
                    </a:lnTo>
                    <a:lnTo>
                      <a:pt x="628" y="223"/>
                    </a:lnTo>
                    <a:lnTo>
                      <a:pt x="625" y="219"/>
                    </a:lnTo>
                    <a:lnTo>
                      <a:pt x="551" y="90"/>
                    </a:lnTo>
                    <a:lnTo>
                      <a:pt x="548" y="87"/>
                    </a:lnTo>
                    <a:lnTo>
                      <a:pt x="546" y="85"/>
                    </a:lnTo>
                    <a:lnTo>
                      <a:pt x="544" y="84"/>
                    </a:lnTo>
                    <a:lnTo>
                      <a:pt x="541" y="83"/>
                    </a:lnTo>
                    <a:lnTo>
                      <a:pt x="539" y="81"/>
                    </a:lnTo>
                    <a:lnTo>
                      <a:pt x="536" y="81"/>
                    </a:lnTo>
                    <a:lnTo>
                      <a:pt x="532" y="83"/>
                    </a:lnTo>
                    <a:lnTo>
                      <a:pt x="530" y="84"/>
                    </a:lnTo>
                    <a:lnTo>
                      <a:pt x="481" y="113"/>
                    </a:lnTo>
                    <a:lnTo>
                      <a:pt x="465" y="99"/>
                    </a:lnTo>
                    <a:lnTo>
                      <a:pt x="447" y="88"/>
                    </a:lnTo>
                    <a:lnTo>
                      <a:pt x="438" y="83"/>
                    </a:lnTo>
                    <a:lnTo>
                      <a:pt x="429" y="77"/>
                    </a:lnTo>
                    <a:lnTo>
                      <a:pt x="418" y="73"/>
                    </a:lnTo>
                    <a:lnTo>
                      <a:pt x="407" y="69"/>
                    </a:lnTo>
                    <a:lnTo>
                      <a:pt x="407" y="15"/>
                    </a:lnTo>
                    <a:lnTo>
                      <a:pt x="407" y="12"/>
                    </a:lnTo>
                    <a:lnTo>
                      <a:pt x="406" y="10"/>
                    </a:lnTo>
                    <a:lnTo>
                      <a:pt x="404" y="7"/>
                    </a:lnTo>
                    <a:lnTo>
                      <a:pt x="403" y="4"/>
                    </a:lnTo>
                    <a:lnTo>
                      <a:pt x="401" y="2"/>
                    </a:lnTo>
                    <a:lnTo>
                      <a:pt x="398" y="1"/>
                    </a:lnTo>
                    <a:lnTo>
                      <a:pt x="395" y="0"/>
                    </a:lnTo>
                    <a:lnTo>
                      <a:pt x="392" y="0"/>
                    </a:lnTo>
                    <a:lnTo>
                      <a:pt x="241" y="0"/>
                    </a:lnTo>
                    <a:lnTo>
                      <a:pt x="238" y="0"/>
                    </a:lnTo>
                    <a:lnTo>
                      <a:pt x="235" y="1"/>
                    </a:lnTo>
                    <a:lnTo>
                      <a:pt x="233" y="2"/>
                    </a:lnTo>
                    <a:lnTo>
                      <a:pt x="231" y="4"/>
                    </a:lnTo>
                    <a:lnTo>
                      <a:pt x="229" y="7"/>
                    </a:lnTo>
                    <a:lnTo>
                      <a:pt x="227" y="10"/>
                    </a:lnTo>
                    <a:lnTo>
                      <a:pt x="226" y="12"/>
                    </a:lnTo>
                    <a:lnTo>
                      <a:pt x="226" y="15"/>
                    </a:lnTo>
                    <a:lnTo>
                      <a:pt x="226" y="69"/>
                    </a:lnTo>
                    <a:lnTo>
                      <a:pt x="216" y="72"/>
                    </a:lnTo>
                    <a:lnTo>
                      <a:pt x="206" y="76"/>
                    </a:lnTo>
                    <a:lnTo>
                      <a:pt x="196" y="80"/>
                    </a:lnTo>
                    <a:lnTo>
                      <a:pt x="187" y="86"/>
                    </a:lnTo>
                    <a:lnTo>
                      <a:pt x="177" y="91"/>
                    </a:lnTo>
                    <a:lnTo>
                      <a:pt x="168" y="98"/>
                    </a:lnTo>
                    <a:lnTo>
                      <a:pt x="159" y="105"/>
                    </a:lnTo>
                    <a:lnTo>
                      <a:pt x="149" y="113"/>
                    </a:lnTo>
                    <a:lnTo>
                      <a:pt x="98" y="84"/>
                    </a:lnTo>
                    <a:lnTo>
                      <a:pt x="96" y="83"/>
                    </a:lnTo>
                    <a:lnTo>
                      <a:pt x="93" y="81"/>
                    </a:lnTo>
                    <a:lnTo>
                      <a:pt x="90" y="81"/>
                    </a:lnTo>
                    <a:lnTo>
                      <a:pt x="87" y="83"/>
                    </a:lnTo>
                    <a:lnTo>
                      <a:pt x="84" y="84"/>
                    </a:lnTo>
                    <a:lnTo>
                      <a:pt x="82" y="85"/>
                    </a:lnTo>
                    <a:lnTo>
                      <a:pt x="80" y="87"/>
                    </a:lnTo>
                    <a:lnTo>
                      <a:pt x="78" y="90"/>
                    </a:lnTo>
                    <a:lnTo>
                      <a:pt x="3" y="219"/>
                    </a:lnTo>
                    <a:lnTo>
                      <a:pt x="1" y="222"/>
                    </a:lnTo>
                    <a:lnTo>
                      <a:pt x="1" y="225"/>
                    </a:lnTo>
                    <a:lnTo>
                      <a:pt x="1" y="228"/>
                    </a:lnTo>
                    <a:lnTo>
                      <a:pt x="1" y="230"/>
                    </a:lnTo>
                    <a:lnTo>
                      <a:pt x="4" y="236"/>
                    </a:lnTo>
                    <a:lnTo>
                      <a:pt x="8" y="241"/>
                    </a:lnTo>
                    <a:lnTo>
                      <a:pt x="57" y="269"/>
                    </a:lnTo>
                    <a:lnTo>
                      <a:pt x="56" y="280"/>
                    </a:lnTo>
                    <a:lnTo>
                      <a:pt x="55" y="291"/>
                    </a:lnTo>
                    <a:lnTo>
                      <a:pt x="54" y="302"/>
                    </a:lnTo>
                    <a:lnTo>
                      <a:pt x="54" y="313"/>
                    </a:lnTo>
                    <a:lnTo>
                      <a:pt x="54" y="323"/>
                    </a:lnTo>
                    <a:lnTo>
                      <a:pt x="55" y="335"/>
                    </a:lnTo>
                    <a:lnTo>
                      <a:pt x="56" y="346"/>
                    </a:lnTo>
                    <a:lnTo>
                      <a:pt x="57" y="355"/>
                    </a:lnTo>
                    <a:lnTo>
                      <a:pt x="7" y="385"/>
                    </a:lnTo>
                    <a:lnTo>
                      <a:pt x="5" y="387"/>
                    </a:lnTo>
                    <a:lnTo>
                      <a:pt x="3" y="389"/>
                    </a:lnTo>
                    <a:lnTo>
                      <a:pt x="2" y="391"/>
                    </a:lnTo>
                    <a:lnTo>
                      <a:pt x="1" y="394"/>
                    </a:lnTo>
                    <a:lnTo>
                      <a:pt x="0" y="396"/>
                    </a:lnTo>
                    <a:lnTo>
                      <a:pt x="1" y="399"/>
                    </a:lnTo>
                    <a:lnTo>
                      <a:pt x="1" y="402"/>
                    </a:lnTo>
                    <a:lnTo>
                      <a:pt x="2" y="405"/>
                    </a:lnTo>
                    <a:lnTo>
                      <a:pt x="78" y="536"/>
                    </a:lnTo>
                    <a:lnTo>
                      <a:pt x="81" y="540"/>
                    </a:lnTo>
                    <a:lnTo>
                      <a:pt x="86" y="543"/>
                    </a:lnTo>
                    <a:lnTo>
                      <a:pt x="89" y="544"/>
                    </a:lnTo>
                    <a:lnTo>
                      <a:pt x="93" y="544"/>
                    </a:lnTo>
                    <a:lnTo>
                      <a:pt x="95" y="543"/>
                    </a:lnTo>
                    <a:lnTo>
                      <a:pt x="98" y="542"/>
                    </a:lnTo>
                    <a:lnTo>
                      <a:pt x="149" y="513"/>
                    </a:lnTo>
                    <a:lnTo>
                      <a:pt x="159" y="520"/>
                    </a:lnTo>
                    <a:lnTo>
                      <a:pt x="168" y="527"/>
                    </a:lnTo>
                    <a:lnTo>
                      <a:pt x="177" y="533"/>
                    </a:lnTo>
                    <a:lnTo>
                      <a:pt x="187" y="539"/>
                    </a:lnTo>
                    <a:lnTo>
                      <a:pt x="196" y="544"/>
                    </a:lnTo>
                    <a:lnTo>
                      <a:pt x="206" y="549"/>
                    </a:lnTo>
                    <a:lnTo>
                      <a:pt x="216" y="552"/>
                    </a:lnTo>
                    <a:lnTo>
                      <a:pt x="226" y="556"/>
                    </a:lnTo>
                    <a:lnTo>
                      <a:pt x="226" y="614"/>
                    </a:lnTo>
                    <a:lnTo>
                      <a:pt x="226" y="617"/>
                    </a:lnTo>
                    <a:lnTo>
                      <a:pt x="227" y="620"/>
                    </a:lnTo>
                    <a:lnTo>
                      <a:pt x="229" y="623"/>
                    </a:lnTo>
                    <a:lnTo>
                      <a:pt x="231" y="625"/>
                    </a:lnTo>
                    <a:lnTo>
                      <a:pt x="233" y="627"/>
                    </a:lnTo>
                    <a:lnTo>
                      <a:pt x="235" y="628"/>
                    </a:lnTo>
                    <a:lnTo>
                      <a:pt x="238" y="629"/>
                    </a:lnTo>
                    <a:lnTo>
                      <a:pt x="241" y="629"/>
                    </a:lnTo>
                    <a:lnTo>
                      <a:pt x="392" y="629"/>
                    </a:lnTo>
                    <a:lnTo>
                      <a:pt x="395" y="629"/>
                    </a:lnTo>
                    <a:lnTo>
                      <a:pt x="398" y="628"/>
                    </a:lnTo>
                    <a:lnTo>
                      <a:pt x="401" y="627"/>
                    </a:lnTo>
                    <a:lnTo>
                      <a:pt x="403" y="625"/>
                    </a:lnTo>
                    <a:lnTo>
                      <a:pt x="404" y="623"/>
                    </a:lnTo>
                    <a:lnTo>
                      <a:pt x="406" y="620"/>
                    </a:lnTo>
                    <a:lnTo>
                      <a:pt x="407" y="617"/>
                    </a:lnTo>
                    <a:lnTo>
                      <a:pt x="407" y="614"/>
                    </a:lnTo>
                    <a:lnTo>
                      <a:pt x="407" y="556"/>
                    </a:lnTo>
                    <a:lnTo>
                      <a:pt x="418" y="552"/>
                    </a:lnTo>
                    <a:lnTo>
                      <a:pt x="429" y="548"/>
                    </a:lnTo>
                    <a:lnTo>
                      <a:pt x="438" y="544"/>
                    </a:lnTo>
                    <a:lnTo>
                      <a:pt x="447" y="538"/>
                    </a:lnTo>
                    <a:lnTo>
                      <a:pt x="465" y="527"/>
                    </a:lnTo>
                    <a:lnTo>
                      <a:pt x="481" y="513"/>
                    </a:lnTo>
                    <a:lnTo>
                      <a:pt x="530" y="542"/>
                    </a:lnTo>
                    <a:lnTo>
                      <a:pt x="533" y="543"/>
                    </a:lnTo>
                    <a:lnTo>
                      <a:pt x="537" y="544"/>
                    </a:lnTo>
                    <a:lnTo>
                      <a:pt x="539" y="544"/>
                    </a:lnTo>
                    <a:lnTo>
                      <a:pt x="542" y="543"/>
                    </a:lnTo>
                    <a:lnTo>
                      <a:pt x="545" y="543"/>
                    </a:lnTo>
                    <a:lnTo>
                      <a:pt x="547" y="540"/>
                    </a:lnTo>
                    <a:lnTo>
                      <a:pt x="550" y="539"/>
                    </a:lnTo>
                    <a:lnTo>
                      <a:pt x="552" y="536"/>
                    </a:lnTo>
                    <a:lnTo>
                      <a:pt x="627" y="405"/>
                    </a:lnTo>
                    <a:lnTo>
                      <a:pt x="628" y="402"/>
                    </a:lnTo>
                    <a:lnTo>
                      <a:pt x="628" y="399"/>
                    </a:lnTo>
                    <a:lnTo>
                      <a:pt x="629" y="396"/>
                    </a:lnTo>
                    <a:lnTo>
                      <a:pt x="628" y="394"/>
                    </a:lnTo>
                    <a:lnTo>
                      <a:pt x="627" y="391"/>
                    </a:lnTo>
                    <a:lnTo>
                      <a:pt x="625" y="389"/>
                    </a:lnTo>
                    <a:lnTo>
                      <a:pt x="623" y="387"/>
                    </a:lnTo>
                    <a:lnTo>
                      <a:pt x="621" y="3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4360"/>
              <p:cNvSpPr>
                <a:spLocks noEditPoints="1"/>
              </p:cNvSpPr>
              <p:nvPr/>
            </p:nvSpPr>
            <p:spPr bwMode="auto">
              <a:xfrm>
                <a:off x="7781925" y="1387475"/>
                <a:ext cx="115888" cy="117475"/>
              </a:xfrm>
              <a:custGeom>
                <a:avLst/>
                <a:gdLst>
                  <a:gd name="T0" fmla="*/ 160 w 362"/>
                  <a:gd name="T1" fmla="*/ 252 h 369"/>
                  <a:gd name="T2" fmla="*/ 135 w 362"/>
                  <a:gd name="T3" fmla="*/ 238 h 369"/>
                  <a:gd name="T4" fmla="*/ 118 w 362"/>
                  <a:gd name="T5" fmla="*/ 218 h 369"/>
                  <a:gd name="T6" fmla="*/ 109 w 362"/>
                  <a:gd name="T7" fmla="*/ 190 h 369"/>
                  <a:gd name="T8" fmla="*/ 113 w 362"/>
                  <a:gd name="T9" fmla="*/ 162 h 369"/>
                  <a:gd name="T10" fmla="*/ 125 w 362"/>
                  <a:gd name="T11" fmla="*/ 138 h 369"/>
                  <a:gd name="T12" fmla="*/ 147 w 362"/>
                  <a:gd name="T13" fmla="*/ 121 h 369"/>
                  <a:gd name="T14" fmla="*/ 174 w 362"/>
                  <a:gd name="T15" fmla="*/ 112 h 369"/>
                  <a:gd name="T16" fmla="*/ 202 w 362"/>
                  <a:gd name="T17" fmla="*/ 114 h 369"/>
                  <a:gd name="T18" fmla="*/ 226 w 362"/>
                  <a:gd name="T19" fmla="*/ 128 h 369"/>
                  <a:gd name="T20" fmla="*/ 244 w 362"/>
                  <a:gd name="T21" fmla="*/ 149 h 369"/>
                  <a:gd name="T22" fmla="*/ 252 w 362"/>
                  <a:gd name="T23" fmla="*/ 176 h 369"/>
                  <a:gd name="T24" fmla="*/ 250 w 362"/>
                  <a:gd name="T25" fmla="*/ 205 h 369"/>
                  <a:gd name="T26" fmla="*/ 236 w 362"/>
                  <a:gd name="T27" fmla="*/ 229 h 369"/>
                  <a:gd name="T28" fmla="*/ 215 w 362"/>
                  <a:gd name="T29" fmla="*/ 247 h 369"/>
                  <a:gd name="T30" fmla="*/ 189 w 362"/>
                  <a:gd name="T31" fmla="*/ 254 h 369"/>
                  <a:gd name="T32" fmla="*/ 328 w 362"/>
                  <a:gd name="T33" fmla="*/ 195 h 369"/>
                  <a:gd name="T34" fmla="*/ 354 w 362"/>
                  <a:gd name="T35" fmla="*/ 144 h 369"/>
                  <a:gd name="T36" fmla="*/ 361 w 362"/>
                  <a:gd name="T37" fmla="*/ 136 h 369"/>
                  <a:gd name="T38" fmla="*/ 360 w 362"/>
                  <a:gd name="T39" fmla="*/ 124 h 369"/>
                  <a:gd name="T40" fmla="*/ 316 w 362"/>
                  <a:gd name="T41" fmla="*/ 53 h 369"/>
                  <a:gd name="T42" fmla="*/ 304 w 362"/>
                  <a:gd name="T43" fmla="*/ 52 h 369"/>
                  <a:gd name="T44" fmla="*/ 256 w 362"/>
                  <a:gd name="T45" fmla="*/ 56 h 369"/>
                  <a:gd name="T46" fmla="*/ 236 w 362"/>
                  <a:gd name="T47" fmla="*/ 10 h 369"/>
                  <a:gd name="T48" fmla="*/ 229 w 362"/>
                  <a:gd name="T49" fmla="*/ 2 h 369"/>
                  <a:gd name="T50" fmla="*/ 146 w 362"/>
                  <a:gd name="T51" fmla="*/ 0 h 369"/>
                  <a:gd name="T52" fmla="*/ 135 w 362"/>
                  <a:gd name="T53" fmla="*/ 3 h 369"/>
                  <a:gd name="T54" fmla="*/ 131 w 362"/>
                  <a:gd name="T55" fmla="*/ 14 h 369"/>
                  <a:gd name="T56" fmla="*/ 99 w 362"/>
                  <a:gd name="T57" fmla="*/ 63 h 369"/>
                  <a:gd name="T58" fmla="*/ 55 w 362"/>
                  <a:gd name="T59" fmla="*/ 51 h 369"/>
                  <a:gd name="T60" fmla="*/ 44 w 362"/>
                  <a:gd name="T61" fmla="*/ 54 h 369"/>
                  <a:gd name="T62" fmla="*/ 1 w 362"/>
                  <a:gd name="T63" fmla="*/ 126 h 369"/>
                  <a:gd name="T64" fmla="*/ 2 w 362"/>
                  <a:gd name="T65" fmla="*/ 139 h 369"/>
                  <a:gd name="T66" fmla="*/ 36 w 362"/>
                  <a:gd name="T67" fmla="*/ 160 h 369"/>
                  <a:gd name="T68" fmla="*/ 36 w 362"/>
                  <a:gd name="T69" fmla="*/ 207 h 369"/>
                  <a:gd name="T70" fmla="*/ 1 w 362"/>
                  <a:gd name="T71" fmla="*/ 230 h 369"/>
                  <a:gd name="T72" fmla="*/ 1 w 362"/>
                  <a:gd name="T73" fmla="*/ 240 h 369"/>
                  <a:gd name="T74" fmla="*/ 44 w 362"/>
                  <a:gd name="T75" fmla="*/ 313 h 369"/>
                  <a:gd name="T76" fmla="*/ 60 w 362"/>
                  <a:gd name="T77" fmla="*/ 314 h 369"/>
                  <a:gd name="T78" fmla="*/ 120 w 362"/>
                  <a:gd name="T79" fmla="*/ 316 h 369"/>
                  <a:gd name="T80" fmla="*/ 132 w 362"/>
                  <a:gd name="T81" fmla="*/ 359 h 369"/>
                  <a:gd name="T82" fmla="*/ 140 w 362"/>
                  <a:gd name="T83" fmla="*/ 368 h 369"/>
                  <a:gd name="T84" fmla="*/ 225 w 362"/>
                  <a:gd name="T85" fmla="*/ 368 h 369"/>
                  <a:gd name="T86" fmla="*/ 233 w 362"/>
                  <a:gd name="T87" fmla="*/ 361 h 369"/>
                  <a:gd name="T88" fmla="*/ 237 w 362"/>
                  <a:gd name="T89" fmla="*/ 321 h 369"/>
                  <a:gd name="T90" fmla="*/ 274 w 362"/>
                  <a:gd name="T91" fmla="*/ 298 h 369"/>
                  <a:gd name="T92" fmla="*/ 310 w 362"/>
                  <a:gd name="T93" fmla="*/ 316 h 369"/>
                  <a:gd name="T94" fmla="*/ 360 w 362"/>
                  <a:gd name="T95" fmla="*/ 243 h 369"/>
                  <a:gd name="T96" fmla="*/ 362 w 362"/>
                  <a:gd name="T97" fmla="*/ 232 h 369"/>
                  <a:gd name="T98" fmla="*/ 354 w 362"/>
                  <a:gd name="T99" fmla="*/ 223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62" h="369">
                    <a:moveTo>
                      <a:pt x="181" y="255"/>
                    </a:moveTo>
                    <a:lnTo>
                      <a:pt x="174" y="254"/>
                    </a:lnTo>
                    <a:lnTo>
                      <a:pt x="166" y="253"/>
                    </a:lnTo>
                    <a:lnTo>
                      <a:pt x="160" y="252"/>
                    </a:lnTo>
                    <a:lnTo>
                      <a:pt x="153" y="249"/>
                    </a:lnTo>
                    <a:lnTo>
                      <a:pt x="147" y="247"/>
                    </a:lnTo>
                    <a:lnTo>
                      <a:pt x="141" y="243"/>
                    </a:lnTo>
                    <a:lnTo>
                      <a:pt x="135" y="238"/>
                    </a:lnTo>
                    <a:lnTo>
                      <a:pt x="131" y="234"/>
                    </a:lnTo>
                    <a:lnTo>
                      <a:pt x="125" y="229"/>
                    </a:lnTo>
                    <a:lnTo>
                      <a:pt x="122" y="223"/>
                    </a:lnTo>
                    <a:lnTo>
                      <a:pt x="118" y="218"/>
                    </a:lnTo>
                    <a:lnTo>
                      <a:pt x="115" y="212"/>
                    </a:lnTo>
                    <a:lnTo>
                      <a:pt x="113" y="205"/>
                    </a:lnTo>
                    <a:lnTo>
                      <a:pt x="110" y="198"/>
                    </a:lnTo>
                    <a:lnTo>
                      <a:pt x="109" y="190"/>
                    </a:lnTo>
                    <a:lnTo>
                      <a:pt x="109" y="183"/>
                    </a:lnTo>
                    <a:lnTo>
                      <a:pt x="109" y="176"/>
                    </a:lnTo>
                    <a:lnTo>
                      <a:pt x="110" y="169"/>
                    </a:lnTo>
                    <a:lnTo>
                      <a:pt x="113" y="162"/>
                    </a:lnTo>
                    <a:lnTo>
                      <a:pt x="115" y="156"/>
                    </a:lnTo>
                    <a:lnTo>
                      <a:pt x="118" y="149"/>
                    </a:lnTo>
                    <a:lnTo>
                      <a:pt x="122" y="143"/>
                    </a:lnTo>
                    <a:lnTo>
                      <a:pt x="125" y="138"/>
                    </a:lnTo>
                    <a:lnTo>
                      <a:pt x="131" y="132"/>
                    </a:lnTo>
                    <a:lnTo>
                      <a:pt x="135" y="128"/>
                    </a:lnTo>
                    <a:lnTo>
                      <a:pt x="141" y="124"/>
                    </a:lnTo>
                    <a:lnTo>
                      <a:pt x="147" y="121"/>
                    </a:lnTo>
                    <a:lnTo>
                      <a:pt x="153" y="117"/>
                    </a:lnTo>
                    <a:lnTo>
                      <a:pt x="160" y="114"/>
                    </a:lnTo>
                    <a:lnTo>
                      <a:pt x="166" y="113"/>
                    </a:lnTo>
                    <a:lnTo>
                      <a:pt x="174" y="112"/>
                    </a:lnTo>
                    <a:lnTo>
                      <a:pt x="181" y="111"/>
                    </a:lnTo>
                    <a:lnTo>
                      <a:pt x="189" y="112"/>
                    </a:lnTo>
                    <a:lnTo>
                      <a:pt x="195" y="113"/>
                    </a:lnTo>
                    <a:lnTo>
                      <a:pt x="202" y="114"/>
                    </a:lnTo>
                    <a:lnTo>
                      <a:pt x="209" y="117"/>
                    </a:lnTo>
                    <a:lnTo>
                      <a:pt x="215" y="121"/>
                    </a:lnTo>
                    <a:lnTo>
                      <a:pt x="221" y="124"/>
                    </a:lnTo>
                    <a:lnTo>
                      <a:pt x="226" y="128"/>
                    </a:lnTo>
                    <a:lnTo>
                      <a:pt x="231" y="132"/>
                    </a:lnTo>
                    <a:lnTo>
                      <a:pt x="236" y="138"/>
                    </a:lnTo>
                    <a:lnTo>
                      <a:pt x="240" y="143"/>
                    </a:lnTo>
                    <a:lnTo>
                      <a:pt x="244" y="149"/>
                    </a:lnTo>
                    <a:lnTo>
                      <a:pt x="247" y="156"/>
                    </a:lnTo>
                    <a:lnTo>
                      <a:pt x="250" y="162"/>
                    </a:lnTo>
                    <a:lnTo>
                      <a:pt x="251" y="169"/>
                    </a:lnTo>
                    <a:lnTo>
                      <a:pt x="252" y="176"/>
                    </a:lnTo>
                    <a:lnTo>
                      <a:pt x="253" y="183"/>
                    </a:lnTo>
                    <a:lnTo>
                      <a:pt x="252" y="190"/>
                    </a:lnTo>
                    <a:lnTo>
                      <a:pt x="251" y="198"/>
                    </a:lnTo>
                    <a:lnTo>
                      <a:pt x="250" y="205"/>
                    </a:lnTo>
                    <a:lnTo>
                      <a:pt x="247" y="212"/>
                    </a:lnTo>
                    <a:lnTo>
                      <a:pt x="244" y="218"/>
                    </a:lnTo>
                    <a:lnTo>
                      <a:pt x="240" y="223"/>
                    </a:lnTo>
                    <a:lnTo>
                      <a:pt x="236" y="229"/>
                    </a:lnTo>
                    <a:lnTo>
                      <a:pt x="231" y="234"/>
                    </a:lnTo>
                    <a:lnTo>
                      <a:pt x="226" y="238"/>
                    </a:lnTo>
                    <a:lnTo>
                      <a:pt x="221" y="243"/>
                    </a:lnTo>
                    <a:lnTo>
                      <a:pt x="215" y="247"/>
                    </a:lnTo>
                    <a:lnTo>
                      <a:pt x="209" y="249"/>
                    </a:lnTo>
                    <a:lnTo>
                      <a:pt x="202" y="252"/>
                    </a:lnTo>
                    <a:lnTo>
                      <a:pt x="195" y="253"/>
                    </a:lnTo>
                    <a:lnTo>
                      <a:pt x="189" y="254"/>
                    </a:lnTo>
                    <a:lnTo>
                      <a:pt x="181" y="255"/>
                    </a:lnTo>
                    <a:close/>
                    <a:moveTo>
                      <a:pt x="354" y="223"/>
                    </a:moveTo>
                    <a:lnTo>
                      <a:pt x="327" y="207"/>
                    </a:lnTo>
                    <a:lnTo>
                      <a:pt x="328" y="195"/>
                    </a:lnTo>
                    <a:lnTo>
                      <a:pt x="328" y="183"/>
                    </a:lnTo>
                    <a:lnTo>
                      <a:pt x="328" y="172"/>
                    </a:lnTo>
                    <a:lnTo>
                      <a:pt x="327" y="160"/>
                    </a:lnTo>
                    <a:lnTo>
                      <a:pt x="354" y="144"/>
                    </a:lnTo>
                    <a:lnTo>
                      <a:pt x="357" y="143"/>
                    </a:lnTo>
                    <a:lnTo>
                      <a:pt x="359" y="141"/>
                    </a:lnTo>
                    <a:lnTo>
                      <a:pt x="360" y="139"/>
                    </a:lnTo>
                    <a:lnTo>
                      <a:pt x="361" y="136"/>
                    </a:lnTo>
                    <a:lnTo>
                      <a:pt x="362" y="132"/>
                    </a:lnTo>
                    <a:lnTo>
                      <a:pt x="362" y="129"/>
                    </a:lnTo>
                    <a:lnTo>
                      <a:pt x="361" y="126"/>
                    </a:lnTo>
                    <a:lnTo>
                      <a:pt x="360" y="124"/>
                    </a:lnTo>
                    <a:lnTo>
                      <a:pt x="322" y="59"/>
                    </a:lnTo>
                    <a:lnTo>
                      <a:pt x="320" y="56"/>
                    </a:lnTo>
                    <a:lnTo>
                      <a:pt x="318" y="54"/>
                    </a:lnTo>
                    <a:lnTo>
                      <a:pt x="316" y="53"/>
                    </a:lnTo>
                    <a:lnTo>
                      <a:pt x="313" y="51"/>
                    </a:lnTo>
                    <a:lnTo>
                      <a:pt x="309" y="51"/>
                    </a:lnTo>
                    <a:lnTo>
                      <a:pt x="307" y="51"/>
                    </a:lnTo>
                    <a:lnTo>
                      <a:pt x="304" y="52"/>
                    </a:lnTo>
                    <a:lnTo>
                      <a:pt x="301" y="53"/>
                    </a:lnTo>
                    <a:lnTo>
                      <a:pt x="274" y="69"/>
                    </a:lnTo>
                    <a:lnTo>
                      <a:pt x="266" y="63"/>
                    </a:lnTo>
                    <a:lnTo>
                      <a:pt x="256" y="56"/>
                    </a:lnTo>
                    <a:lnTo>
                      <a:pt x="246" y="51"/>
                    </a:lnTo>
                    <a:lnTo>
                      <a:pt x="237" y="47"/>
                    </a:lnTo>
                    <a:lnTo>
                      <a:pt x="237" y="14"/>
                    </a:lnTo>
                    <a:lnTo>
                      <a:pt x="236" y="10"/>
                    </a:lnTo>
                    <a:lnTo>
                      <a:pt x="236" y="8"/>
                    </a:lnTo>
                    <a:lnTo>
                      <a:pt x="233" y="5"/>
                    </a:lnTo>
                    <a:lnTo>
                      <a:pt x="232" y="3"/>
                    </a:lnTo>
                    <a:lnTo>
                      <a:pt x="229" y="2"/>
                    </a:lnTo>
                    <a:lnTo>
                      <a:pt x="227" y="1"/>
                    </a:lnTo>
                    <a:lnTo>
                      <a:pt x="224" y="0"/>
                    </a:lnTo>
                    <a:lnTo>
                      <a:pt x="222" y="0"/>
                    </a:lnTo>
                    <a:lnTo>
                      <a:pt x="146" y="0"/>
                    </a:lnTo>
                    <a:lnTo>
                      <a:pt x="143" y="0"/>
                    </a:lnTo>
                    <a:lnTo>
                      <a:pt x="140" y="1"/>
                    </a:lnTo>
                    <a:lnTo>
                      <a:pt x="137" y="2"/>
                    </a:lnTo>
                    <a:lnTo>
                      <a:pt x="135" y="3"/>
                    </a:lnTo>
                    <a:lnTo>
                      <a:pt x="134" y="5"/>
                    </a:lnTo>
                    <a:lnTo>
                      <a:pt x="132" y="8"/>
                    </a:lnTo>
                    <a:lnTo>
                      <a:pt x="132" y="10"/>
                    </a:lnTo>
                    <a:lnTo>
                      <a:pt x="131" y="14"/>
                    </a:lnTo>
                    <a:lnTo>
                      <a:pt x="131" y="47"/>
                    </a:lnTo>
                    <a:lnTo>
                      <a:pt x="120" y="52"/>
                    </a:lnTo>
                    <a:lnTo>
                      <a:pt x="109" y="57"/>
                    </a:lnTo>
                    <a:lnTo>
                      <a:pt x="99" y="63"/>
                    </a:lnTo>
                    <a:lnTo>
                      <a:pt x="90" y="69"/>
                    </a:lnTo>
                    <a:lnTo>
                      <a:pt x="61" y="53"/>
                    </a:lnTo>
                    <a:lnTo>
                      <a:pt x="58" y="52"/>
                    </a:lnTo>
                    <a:lnTo>
                      <a:pt x="55" y="51"/>
                    </a:lnTo>
                    <a:lnTo>
                      <a:pt x="53" y="51"/>
                    </a:lnTo>
                    <a:lnTo>
                      <a:pt x="49" y="51"/>
                    </a:lnTo>
                    <a:lnTo>
                      <a:pt x="47" y="52"/>
                    </a:lnTo>
                    <a:lnTo>
                      <a:pt x="44" y="54"/>
                    </a:lnTo>
                    <a:lnTo>
                      <a:pt x="42" y="56"/>
                    </a:lnTo>
                    <a:lnTo>
                      <a:pt x="41" y="59"/>
                    </a:lnTo>
                    <a:lnTo>
                      <a:pt x="2" y="124"/>
                    </a:lnTo>
                    <a:lnTo>
                      <a:pt x="1" y="126"/>
                    </a:lnTo>
                    <a:lnTo>
                      <a:pt x="0" y="129"/>
                    </a:lnTo>
                    <a:lnTo>
                      <a:pt x="0" y="132"/>
                    </a:lnTo>
                    <a:lnTo>
                      <a:pt x="1" y="136"/>
                    </a:lnTo>
                    <a:lnTo>
                      <a:pt x="2" y="139"/>
                    </a:lnTo>
                    <a:lnTo>
                      <a:pt x="3" y="141"/>
                    </a:lnTo>
                    <a:lnTo>
                      <a:pt x="6" y="143"/>
                    </a:lnTo>
                    <a:lnTo>
                      <a:pt x="8" y="144"/>
                    </a:lnTo>
                    <a:lnTo>
                      <a:pt x="36" y="160"/>
                    </a:lnTo>
                    <a:lnTo>
                      <a:pt x="34" y="172"/>
                    </a:lnTo>
                    <a:lnTo>
                      <a:pt x="34" y="183"/>
                    </a:lnTo>
                    <a:lnTo>
                      <a:pt x="34" y="195"/>
                    </a:lnTo>
                    <a:lnTo>
                      <a:pt x="36" y="207"/>
                    </a:lnTo>
                    <a:lnTo>
                      <a:pt x="8" y="223"/>
                    </a:lnTo>
                    <a:lnTo>
                      <a:pt x="6" y="224"/>
                    </a:lnTo>
                    <a:lnTo>
                      <a:pt x="3" y="227"/>
                    </a:lnTo>
                    <a:lnTo>
                      <a:pt x="1" y="230"/>
                    </a:lnTo>
                    <a:lnTo>
                      <a:pt x="0" y="233"/>
                    </a:lnTo>
                    <a:lnTo>
                      <a:pt x="0" y="235"/>
                    </a:lnTo>
                    <a:lnTo>
                      <a:pt x="0" y="237"/>
                    </a:lnTo>
                    <a:lnTo>
                      <a:pt x="1" y="240"/>
                    </a:lnTo>
                    <a:lnTo>
                      <a:pt x="2" y="243"/>
                    </a:lnTo>
                    <a:lnTo>
                      <a:pt x="40" y="309"/>
                    </a:lnTo>
                    <a:lnTo>
                      <a:pt x="42" y="311"/>
                    </a:lnTo>
                    <a:lnTo>
                      <a:pt x="44" y="313"/>
                    </a:lnTo>
                    <a:lnTo>
                      <a:pt x="46" y="314"/>
                    </a:lnTo>
                    <a:lnTo>
                      <a:pt x="48" y="315"/>
                    </a:lnTo>
                    <a:lnTo>
                      <a:pt x="55" y="316"/>
                    </a:lnTo>
                    <a:lnTo>
                      <a:pt x="60" y="314"/>
                    </a:lnTo>
                    <a:lnTo>
                      <a:pt x="90" y="297"/>
                    </a:lnTo>
                    <a:lnTo>
                      <a:pt x="99" y="304"/>
                    </a:lnTo>
                    <a:lnTo>
                      <a:pt x="109" y="310"/>
                    </a:lnTo>
                    <a:lnTo>
                      <a:pt x="120" y="316"/>
                    </a:lnTo>
                    <a:lnTo>
                      <a:pt x="131" y="321"/>
                    </a:lnTo>
                    <a:lnTo>
                      <a:pt x="131" y="354"/>
                    </a:lnTo>
                    <a:lnTo>
                      <a:pt x="132" y="356"/>
                    </a:lnTo>
                    <a:lnTo>
                      <a:pt x="132" y="359"/>
                    </a:lnTo>
                    <a:lnTo>
                      <a:pt x="134" y="361"/>
                    </a:lnTo>
                    <a:lnTo>
                      <a:pt x="135" y="363"/>
                    </a:lnTo>
                    <a:lnTo>
                      <a:pt x="137" y="366"/>
                    </a:lnTo>
                    <a:lnTo>
                      <a:pt x="140" y="368"/>
                    </a:lnTo>
                    <a:lnTo>
                      <a:pt x="143" y="368"/>
                    </a:lnTo>
                    <a:lnTo>
                      <a:pt x="146" y="369"/>
                    </a:lnTo>
                    <a:lnTo>
                      <a:pt x="222" y="369"/>
                    </a:lnTo>
                    <a:lnTo>
                      <a:pt x="225" y="368"/>
                    </a:lnTo>
                    <a:lnTo>
                      <a:pt x="227" y="368"/>
                    </a:lnTo>
                    <a:lnTo>
                      <a:pt x="229" y="366"/>
                    </a:lnTo>
                    <a:lnTo>
                      <a:pt x="232" y="363"/>
                    </a:lnTo>
                    <a:lnTo>
                      <a:pt x="233" y="361"/>
                    </a:lnTo>
                    <a:lnTo>
                      <a:pt x="236" y="359"/>
                    </a:lnTo>
                    <a:lnTo>
                      <a:pt x="236" y="356"/>
                    </a:lnTo>
                    <a:lnTo>
                      <a:pt x="237" y="354"/>
                    </a:lnTo>
                    <a:lnTo>
                      <a:pt x="237" y="321"/>
                    </a:lnTo>
                    <a:lnTo>
                      <a:pt x="246" y="316"/>
                    </a:lnTo>
                    <a:lnTo>
                      <a:pt x="256" y="311"/>
                    </a:lnTo>
                    <a:lnTo>
                      <a:pt x="266" y="305"/>
                    </a:lnTo>
                    <a:lnTo>
                      <a:pt x="274" y="298"/>
                    </a:lnTo>
                    <a:lnTo>
                      <a:pt x="302" y="313"/>
                    </a:lnTo>
                    <a:lnTo>
                      <a:pt x="305" y="315"/>
                    </a:lnTo>
                    <a:lnTo>
                      <a:pt x="307" y="315"/>
                    </a:lnTo>
                    <a:lnTo>
                      <a:pt x="310" y="316"/>
                    </a:lnTo>
                    <a:lnTo>
                      <a:pt x="314" y="316"/>
                    </a:lnTo>
                    <a:lnTo>
                      <a:pt x="319" y="313"/>
                    </a:lnTo>
                    <a:lnTo>
                      <a:pt x="322" y="309"/>
                    </a:lnTo>
                    <a:lnTo>
                      <a:pt x="360" y="243"/>
                    </a:lnTo>
                    <a:lnTo>
                      <a:pt x="362" y="240"/>
                    </a:lnTo>
                    <a:lnTo>
                      <a:pt x="362" y="237"/>
                    </a:lnTo>
                    <a:lnTo>
                      <a:pt x="362" y="234"/>
                    </a:lnTo>
                    <a:lnTo>
                      <a:pt x="362" y="232"/>
                    </a:lnTo>
                    <a:lnTo>
                      <a:pt x="361" y="229"/>
                    </a:lnTo>
                    <a:lnTo>
                      <a:pt x="359" y="227"/>
                    </a:lnTo>
                    <a:lnTo>
                      <a:pt x="357" y="224"/>
                    </a:lnTo>
                    <a:lnTo>
                      <a:pt x="354" y="2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33" name="Title 1"/>
          <p:cNvSpPr txBox="1">
            <a:spLocks/>
          </p:cNvSpPr>
          <p:nvPr/>
        </p:nvSpPr>
        <p:spPr>
          <a:xfrm>
            <a:off x="3461639" y="525818"/>
            <a:ext cx="5268722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dirty="0" smtClean="0">
                <a:ea typeface="Segoe UI" panose="020B0502040204020203" pitchFamily="34" charset="0"/>
                <a:cs typeface="Segoe UI" panose="020B0502040204020203" pitchFamily="34" charset="0"/>
              </a:rPr>
              <a:t>CIRCLE DIAGRAM</a:t>
            </a:r>
            <a:endParaRPr lang="en-US" sz="32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37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1</TotalTime>
  <Words>1796</Words>
  <Application>Microsoft Office PowerPoint</Application>
  <PresentationFormat>Widescreen</PresentationFormat>
  <Paragraphs>254</Paragraphs>
  <Slides>2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 Light</vt:lpstr>
      <vt:lpstr>Century Gothic</vt:lpstr>
      <vt:lpstr>Segoe UI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Nugroho Ade</cp:lastModifiedBy>
  <cp:revision>68</cp:revision>
  <dcterms:created xsi:type="dcterms:W3CDTF">2017-03-07T09:53:20Z</dcterms:created>
  <dcterms:modified xsi:type="dcterms:W3CDTF">2017-03-09T05:22:13Z</dcterms:modified>
</cp:coreProperties>
</file>